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97" r:id="rId2"/>
    <p:sldId id="303" r:id="rId3"/>
    <p:sldId id="304" r:id="rId4"/>
    <p:sldId id="300" r:id="rId5"/>
    <p:sldId id="416" r:id="rId6"/>
    <p:sldId id="417" r:id="rId7"/>
    <p:sldId id="418" r:id="rId8"/>
    <p:sldId id="419" r:id="rId9"/>
    <p:sldId id="420" r:id="rId10"/>
    <p:sldId id="421" r:id="rId11"/>
    <p:sldId id="422" r:id="rId1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hi, Dharmesh" initials="JD" lastIdx="3" clrIdx="0">
    <p:extLst>
      <p:ext uri="{19B8F6BF-5375-455C-9EA6-DF929625EA0E}">
        <p15:presenceInfo xmlns:p15="http://schemas.microsoft.com/office/powerpoint/2012/main" userId="S-1-5-21-1707683060-1666451717-1840333726-315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5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1246" autoAdjust="0"/>
  </p:normalViewPr>
  <p:slideViewPr>
    <p:cSldViewPr snapToGrid="0" snapToObjects="1">
      <p:cViewPr varScale="1">
        <p:scale>
          <a:sx n="98" d="100"/>
          <a:sy n="98" d="100"/>
        </p:scale>
        <p:origin x="1046" y="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BFF57-6DE7-4AB5-B4AB-2712DE265F02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EC936B8-849F-47F6-BE0A-007C9C31185C}">
      <dgm:prSet phldrT="[Text]" custT="1"/>
      <dgm:spPr>
        <a:solidFill>
          <a:schemeClr val="bg2"/>
        </a:solidFill>
      </dgm:spPr>
      <dgm:t>
        <a:bodyPr/>
        <a:lstStyle/>
        <a:p>
          <a:r>
            <a:rPr lang="en-US" sz="2200" b="1" u="none" dirty="0">
              <a:solidFill>
                <a:schemeClr val="tx1"/>
              </a:solidFill>
            </a:rPr>
            <a:t>Through Penetrations</a:t>
          </a:r>
        </a:p>
      </dgm:t>
    </dgm:pt>
    <dgm:pt modelId="{5E4205D8-9CE8-4996-8572-5615E5ED0373}" type="parTrans" cxnId="{144D8683-2F85-4FDE-AE80-1FB3EDADAB85}">
      <dgm:prSet/>
      <dgm:spPr/>
      <dgm:t>
        <a:bodyPr/>
        <a:lstStyle/>
        <a:p>
          <a:endParaRPr lang="en-US"/>
        </a:p>
      </dgm:t>
    </dgm:pt>
    <dgm:pt modelId="{FEBB1491-599D-49CC-9E3D-8FA27DDEB661}" type="sibTrans" cxnId="{144D8683-2F85-4FDE-AE80-1FB3EDADAB85}">
      <dgm:prSet/>
      <dgm:spPr/>
      <dgm:t>
        <a:bodyPr/>
        <a:lstStyle/>
        <a:p>
          <a:endParaRPr lang="en-US"/>
        </a:p>
      </dgm:t>
    </dgm:pt>
    <dgm:pt modelId="{BFD6A2C5-87C1-44FF-AD81-8D78EDECBEF4}">
      <dgm:prSet phldrT="[Text]" custT="1"/>
      <dgm:spPr>
        <a:solidFill>
          <a:schemeClr val="bg2"/>
        </a:solidFill>
      </dgm:spPr>
      <dgm:t>
        <a:bodyPr/>
        <a:lstStyle/>
        <a:p>
          <a:r>
            <a:rPr lang="en-US" sz="2200" b="1" dirty="0">
              <a:solidFill>
                <a:schemeClr val="tx1"/>
              </a:solidFill>
            </a:rPr>
            <a:t>Joints</a:t>
          </a:r>
          <a:r>
            <a:rPr lang="en-US" sz="2200" dirty="0">
              <a:solidFill>
                <a:schemeClr val="tx1"/>
              </a:solidFill>
            </a:rPr>
            <a:t> </a:t>
          </a:r>
        </a:p>
      </dgm:t>
    </dgm:pt>
    <dgm:pt modelId="{9652377A-EF77-4885-96DA-6C8142271C34}" type="parTrans" cxnId="{35A9A3A8-8983-4E8E-88B9-79AA6AFE432B}">
      <dgm:prSet/>
      <dgm:spPr/>
      <dgm:t>
        <a:bodyPr/>
        <a:lstStyle/>
        <a:p>
          <a:endParaRPr lang="en-US"/>
        </a:p>
      </dgm:t>
    </dgm:pt>
    <dgm:pt modelId="{3F4D9796-1F9B-490E-A08C-E442936814A9}" type="sibTrans" cxnId="{35A9A3A8-8983-4E8E-88B9-79AA6AFE432B}">
      <dgm:prSet/>
      <dgm:spPr/>
      <dgm:t>
        <a:bodyPr/>
        <a:lstStyle/>
        <a:p>
          <a:endParaRPr lang="en-US"/>
        </a:p>
      </dgm:t>
    </dgm:pt>
    <dgm:pt modelId="{7AA2B4B2-1B99-4858-BDD5-9CF6340B096B}">
      <dgm:prSet custT="1"/>
      <dgm:spPr>
        <a:solidFill>
          <a:schemeClr val="bg2"/>
        </a:solidFill>
      </dgm:spPr>
      <dgm:t>
        <a:bodyPr/>
        <a:lstStyle/>
        <a:p>
          <a:endParaRPr lang="en-US" sz="1900" dirty="0">
            <a:solidFill>
              <a:schemeClr val="tx1"/>
            </a:solidFill>
          </a:endParaRPr>
        </a:p>
        <a:p>
          <a:r>
            <a:rPr lang="en-US" sz="2200" b="1" dirty="0">
              <a:solidFill>
                <a:schemeClr val="tx1"/>
              </a:solidFill>
            </a:rPr>
            <a:t>Cable Coating </a:t>
          </a:r>
        </a:p>
        <a:p>
          <a:endParaRPr lang="en-US" sz="1900" dirty="0"/>
        </a:p>
      </dgm:t>
    </dgm:pt>
    <dgm:pt modelId="{5B28CC81-4DAB-4967-8D61-0F32DA5319CB}" type="parTrans" cxnId="{8E882B55-9492-4D56-A0AA-F7F8DDD442D7}">
      <dgm:prSet/>
      <dgm:spPr/>
      <dgm:t>
        <a:bodyPr/>
        <a:lstStyle/>
        <a:p>
          <a:endParaRPr lang="en-US"/>
        </a:p>
      </dgm:t>
    </dgm:pt>
    <dgm:pt modelId="{16D44A2D-9B51-4D09-85DE-C119EB359B19}" type="sibTrans" cxnId="{8E882B55-9492-4D56-A0AA-F7F8DDD442D7}">
      <dgm:prSet/>
      <dgm:spPr/>
      <dgm:t>
        <a:bodyPr/>
        <a:lstStyle/>
        <a:p>
          <a:endParaRPr lang="en-US"/>
        </a:p>
      </dgm:t>
    </dgm:pt>
    <dgm:pt modelId="{F6452CED-C953-4F60-8944-CA3283C1CD89}" type="pres">
      <dgm:prSet presAssocID="{135BFF57-6DE7-4AB5-B4AB-2712DE265F02}" presName="Name0" presStyleCnt="0">
        <dgm:presLayoutVars>
          <dgm:dir/>
          <dgm:resizeHandles val="exact"/>
        </dgm:presLayoutVars>
      </dgm:prSet>
      <dgm:spPr/>
    </dgm:pt>
    <dgm:pt modelId="{5DDE672D-BA0B-4733-93E7-AC793AE716C3}" type="pres">
      <dgm:prSet presAssocID="{135BFF57-6DE7-4AB5-B4AB-2712DE265F02}" presName="fgShape" presStyleLbl="fgShp" presStyleIdx="0" presStyleCnt="1" custLinFactNeighborX="27" custLinFactNeighborY="-970"/>
      <dgm:spPr>
        <a:solidFill>
          <a:schemeClr val="bg2"/>
        </a:solidFill>
        <a:ln>
          <a:solidFill>
            <a:srgbClr val="FF0000"/>
          </a:solidFill>
        </a:ln>
      </dgm:spPr>
    </dgm:pt>
    <dgm:pt modelId="{55EB38D4-D222-4ED6-BB73-D8DEE7F9FE55}" type="pres">
      <dgm:prSet presAssocID="{135BFF57-6DE7-4AB5-B4AB-2712DE265F02}" presName="linComp" presStyleCnt="0"/>
      <dgm:spPr/>
    </dgm:pt>
    <dgm:pt modelId="{D4AB2BBA-581E-4F8E-95B7-AD51E4E1FB9D}" type="pres">
      <dgm:prSet presAssocID="{1EC936B8-849F-47F6-BE0A-007C9C31185C}" presName="compNode" presStyleCnt="0"/>
      <dgm:spPr/>
    </dgm:pt>
    <dgm:pt modelId="{5959AB04-24F1-4DD4-B2BA-BC3F523F47DE}" type="pres">
      <dgm:prSet presAssocID="{1EC936B8-849F-47F6-BE0A-007C9C31185C}" presName="bkgdShape" presStyleLbl="node1" presStyleIdx="0" presStyleCnt="3"/>
      <dgm:spPr/>
    </dgm:pt>
    <dgm:pt modelId="{4887FDBC-6CCA-48A3-B955-F915CF83B96A}" type="pres">
      <dgm:prSet presAssocID="{1EC936B8-849F-47F6-BE0A-007C9C31185C}" presName="nodeTx" presStyleLbl="node1" presStyleIdx="0" presStyleCnt="3">
        <dgm:presLayoutVars>
          <dgm:bulletEnabled val="1"/>
        </dgm:presLayoutVars>
      </dgm:prSet>
      <dgm:spPr/>
    </dgm:pt>
    <dgm:pt modelId="{65812EF9-D557-450B-B472-DA6C980AEA3A}" type="pres">
      <dgm:prSet presAssocID="{1EC936B8-849F-47F6-BE0A-007C9C31185C}" presName="invisiNode" presStyleLbl="node1" presStyleIdx="0" presStyleCnt="3"/>
      <dgm:spPr/>
    </dgm:pt>
    <dgm:pt modelId="{4C823DEC-9E85-4CD4-95C3-B8F7C4552516}" type="pres">
      <dgm:prSet presAssocID="{1EC936B8-849F-47F6-BE0A-007C9C31185C}" presName="imagNode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D6CB90D2-6E61-4099-A1E2-997814681609}" type="pres">
      <dgm:prSet presAssocID="{FEBB1491-599D-49CC-9E3D-8FA27DDEB661}" presName="sibTrans" presStyleLbl="sibTrans2D1" presStyleIdx="0" presStyleCnt="0"/>
      <dgm:spPr/>
    </dgm:pt>
    <dgm:pt modelId="{1EE29297-74C1-4B34-A5CF-D1A4C90C80F9}" type="pres">
      <dgm:prSet presAssocID="{BFD6A2C5-87C1-44FF-AD81-8D78EDECBEF4}" presName="compNode" presStyleCnt="0"/>
      <dgm:spPr/>
    </dgm:pt>
    <dgm:pt modelId="{490198C8-A8FD-4802-A51E-0E10D4038918}" type="pres">
      <dgm:prSet presAssocID="{BFD6A2C5-87C1-44FF-AD81-8D78EDECBEF4}" presName="bkgdShape" presStyleLbl="node1" presStyleIdx="1" presStyleCnt="3"/>
      <dgm:spPr/>
    </dgm:pt>
    <dgm:pt modelId="{FDC83906-5A47-4785-A2B7-5AF592E87663}" type="pres">
      <dgm:prSet presAssocID="{BFD6A2C5-87C1-44FF-AD81-8D78EDECBEF4}" presName="nodeTx" presStyleLbl="node1" presStyleIdx="1" presStyleCnt="3">
        <dgm:presLayoutVars>
          <dgm:bulletEnabled val="1"/>
        </dgm:presLayoutVars>
      </dgm:prSet>
      <dgm:spPr/>
    </dgm:pt>
    <dgm:pt modelId="{84E83829-860E-4CE4-A16F-D86E60B907C4}" type="pres">
      <dgm:prSet presAssocID="{BFD6A2C5-87C1-44FF-AD81-8D78EDECBEF4}" presName="invisiNode" presStyleLbl="node1" presStyleIdx="1" presStyleCnt="3"/>
      <dgm:spPr/>
    </dgm:pt>
    <dgm:pt modelId="{C62849F1-8F5F-47D0-89EA-06BB9159697A}" type="pres">
      <dgm:prSet presAssocID="{BFD6A2C5-87C1-44FF-AD81-8D78EDECBEF4}" presName="imagNode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2BEEFCE7-5C75-4FA6-9B43-6F6442D88F8C}" type="pres">
      <dgm:prSet presAssocID="{3F4D9796-1F9B-490E-A08C-E442936814A9}" presName="sibTrans" presStyleLbl="sibTrans2D1" presStyleIdx="0" presStyleCnt="0"/>
      <dgm:spPr/>
    </dgm:pt>
    <dgm:pt modelId="{B3861116-DA84-4DA3-8C7C-6C778422B2D6}" type="pres">
      <dgm:prSet presAssocID="{7AA2B4B2-1B99-4858-BDD5-9CF6340B096B}" presName="compNode" presStyleCnt="0"/>
      <dgm:spPr/>
    </dgm:pt>
    <dgm:pt modelId="{0AF64821-E5A9-4028-8D5D-01049185DA53}" type="pres">
      <dgm:prSet presAssocID="{7AA2B4B2-1B99-4858-BDD5-9CF6340B096B}" presName="bkgdShape" presStyleLbl="node1" presStyleIdx="2" presStyleCnt="3"/>
      <dgm:spPr/>
    </dgm:pt>
    <dgm:pt modelId="{040DCEB7-5B79-4F2D-883C-F43A76C77266}" type="pres">
      <dgm:prSet presAssocID="{7AA2B4B2-1B99-4858-BDD5-9CF6340B096B}" presName="nodeTx" presStyleLbl="node1" presStyleIdx="2" presStyleCnt="3">
        <dgm:presLayoutVars>
          <dgm:bulletEnabled val="1"/>
        </dgm:presLayoutVars>
      </dgm:prSet>
      <dgm:spPr/>
    </dgm:pt>
    <dgm:pt modelId="{ECE084D5-A682-4572-BB97-09617B833D36}" type="pres">
      <dgm:prSet presAssocID="{7AA2B4B2-1B99-4858-BDD5-9CF6340B096B}" presName="invisiNode" presStyleLbl="node1" presStyleIdx="2" presStyleCnt="3"/>
      <dgm:spPr/>
    </dgm:pt>
    <dgm:pt modelId="{944A4270-35C1-4BB2-B2FD-7C3A18B33217}" type="pres">
      <dgm:prSet presAssocID="{7AA2B4B2-1B99-4858-BDD5-9CF6340B096B}" presName="imagNode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66CD402D-9A10-42D5-A636-3B941ED3DD08}" type="presOf" srcId="{BFD6A2C5-87C1-44FF-AD81-8D78EDECBEF4}" destId="{490198C8-A8FD-4802-A51E-0E10D4038918}" srcOrd="0" destOrd="0" presId="urn:microsoft.com/office/officeart/2005/8/layout/hList7"/>
    <dgm:cxn modelId="{250FB834-0799-4C4B-B4D1-29FD664ED116}" type="presOf" srcId="{7AA2B4B2-1B99-4858-BDD5-9CF6340B096B}" destId="{040DCEB7-5B79-4F2D-883C-F43A76C77266}" srcOrd="1" destOrd="0" presId="urn:microsoft.com/office/officeart/2005/8/layout/hList7"/>
    <dgm:cxn modelId="{C426A872-E722-40CD-B07E-2655A821E670}" type="presOf" srcId="{FEBB1491-599D-49CC-9E3D-8FA27DDEB661}" destId="{D6CB90D2-6E61-4099-A1E2-997814681609}" srcOrd="0" destOrd="0" presId="urn:microsoft.com/office/officeart/2005/8/layout/hList7"/>
    <dgm:cxn modelId="{8E882B55-9492-4D56-A0AA-F7F8DDD442D7}" srcId="{135BFF57-6DE7-4AB5-B4AB-2712DE265F02}" destId="{7AA2B4B2-1B99-4858-BDD5-9CF6340B096B}" srcOrd="2" destOrd="0" parTransId="{5B28CC81-4DAB-4967-8D61-0F32DA5319CB}" sibTransId="{16D44A2D-9B51-4D09-85DE-C119EB359B19}"/>
    <dgm:cxn modelId="{968D3177-1F97-4A00-B7F2-F6E222AD32F8}" type="presOf" srcId="{7AA2B4B2-1B99-4858-BDD5-9CF6340B096B}" destId="{0AF64821-E5A9-4028-8D5D-01049185DA53}" srcOrd="0" destOrd="0" presId="urn:microsoft.com/office/officeart/2005/8/layout/hList7"/>
    <dgm:cxn modelId="{144D8683-2F85-4FDE-AE80-1FB3EDADAB85}" srcId="{135BFF57-6DE7-4AB5-B4AB-2712DE265F02}" destId="{1EC936B8-849F-47F6-BE0A-007C9C31185C}" srcOrd="0" destOrd="0" parTransId="{5E4205D8-9CE8-4996-8572-5615E5ED0373}" sibTransId="{FEBB1491-599D-49CC-9E3D-8FA27DDEB661}"/>
    <dgm:cxn modelId="{37F14086-FC64-4CAA-AF4A-E8E1F26BF323}" type="presOf" srcId="{BFD6A2C5-87C1-44FF-AD81-8D78EDECBEF4}" destId="{FDC83906-5A47-4785-A2B7-5AF592E87663}" srcOrd="1" destOrd="0" presId="urn:microsoft.com/office/officeart/2005/8/layout/hList7"/>
    <dgm:cxn modelId="{7BD13091-1446-471A-AFBF-250AECA34CE7}" type="presOf" srcId="{3F4D9796-1F9B-490E-A08C-E442936814A9}" destId="{2BEEFCE7-5C75-4FA6-9B43-6F6442D88F8C}" srcOrd="0" destOrd="0" presId="urn:microsoft.com/office/officeart/2005/8/layout/hList7"/>
    <dgm:cxn modelId="{8608A795-2B3F-4C98-B3C7-65F7EA13559D}" type="presOf" srcId="{135BFF57-6DE7-4AB5-B4AB-2712DE265F02}" destId="{F6452CED-C953-4F60-8944-CA3283C1CD89}" srcOrd="0" destOrd="0" presId="urn:microsoft.com/office/officeart/2005/8/layout/hList7"/>
    <dgm:cxn modelId="{4E44DA95-4A9F-49E8-8EB8-1D0302C4B685}" type="presOf" srcId="{1EC936B8-849F-47F6-BE0A-007C9C31185C}" destId="{4887FDBC-6CCA-48A3-B955-F915CF83B96A}" srcOrd="1" destOrd="0" presId="urn:microsoft.com/office/officeart/2005/8/layout/hList7"/>
    <dgm:cxn modelId="{35A9A3A8-8983-4E8E-88B9-79AA6AFE432B}" srcId="{135BFF57-6DE7-4AB5-B4AB-2712DE265F02}" destId="{BFD6A2C5-87C1-44FF-AD81-8D78EDECBEF4}" srcOrd="1" destOrd="0" parTransId="{9652377A-EF77-4885-96DA-6C8142271C34}" sibTransId="{3F4D9796-1F9B-490E-A08C-E442936814A9}"/>
    <dgm:cxn modelId="{B3A0A8F9-E1E9-460D-90FF-921C342B25FA}" type="presOf" srcId="{1EC936B8-849F-47F6-BE0A-007C9C31185C}" destId="{5959AB04-24F1-4DD4-B2BA-BC3F523F47DE}" srcOrd="0" destOrd="0" presId="urn:microsoft.com/office/officeart/2005/8/layout/hList7"/>
    <dgm:cxn modelId="{A0FDA6F6-08AF-43A7-9B5B-7DFE1E7DCE49}" type="presParOf" srcId="{F6452CED-C953-4F60-8944-CA3283C1CD89}" destId="{5DDE672D-BA0B-4733-93E7-AC793AE716C3}" srcOrd="0" destOrd="0" presId="urn:microsoft.com/office/officeart/2005/8/layout/hList7"/>
    <dgm:cxn modelId="{1C1C8A4A-91A5-41FC-82A0-DF7FF2FB14DE}" type="presParOf" srcId="{F6452CED-C953-4F60-8944-CA3283C1CD89}" destId="{55EB38D4-D222-4ED6-BB73-D8DEE7F9FE55}" srcOrd="1" destOrd="0" presId="urn:microsoft.com/office/officeart/2005/8/layout/hList7"/>
    <dgm:cxn modelId="{8E1FDD43-5112-4C12-95D9-B600D989C55D}" type="presParOf" srcId="{55EB38D4-D222-4ED6-BB73-D8DEE7F9FE55}" destId="{D4AB2BBA-581E-4F8E-95B7-AD51E4E1FB9D}" srcOrd="0" destOrd="0" presId="urn:microsoft.com/office/officeart/2005/8/layout/hList7"/>
    <dgm:cxn modelId="{746AB748-90B4-4DB4-AAC4-5E1750BEDB70}" type="presParOf" srcId="{D4AB2BBA-581E-4F8E-95B7-AD51E4E1FB9D}" destId="{5959AB04-24F1-4DD4-B2BA-BC3F523F47DE}" srcOrd="0" destOrd="0" presId="urn:microsoft.com/office/officeart/2005/8/layout/hList7"/>
    <dgm:cxn modelId="{81ED57AA-3628-4C82-B043-55C4067F0A5D}" type="presParOf" srcId="{D4AB2BBA-581E-4F8E-95B7-AD51E4E1FB9D}" destId="{4887FDBC-6CCA-48A3-B955-F915CF83B96A}" srcOrd="1" destOrd="0" presId="urn:microsoft.com/office/officeart/2005/8/layout/hList7"/>
    <dgm:cxn modelId="{B48CB98A-1AB8-47B2-B65B-78C52AC89E19}" type="presParOf" srcId="{D4AB2BBA-581E-4F8E-95B7-AD51E4E1FB9D}" destId="{65812EF9-D557-450B-B472-DA6C980AEA3A}" srcOrd="2" destOrd="0" presId="urn:microsoft.com/office/officeart/2005/8/layout/hList7"/>
    <dgm:cxn modelId="{3D86BA8F-3DF1-4B62-A496-02C24C3DC64A}" type="presParOf" srcId="{D4AB2BBA-581E-4F8E-95B7-AD51E4E1FB9D}" destId="{4C823DEC-9E85-4CD4-95C3-B8F7C4552516}" srcOrd="3" destOrd="0" presId="urn:microsoft.com/office/officeart/2005/8/layout/hList7"/>
    <dgm:cxn modelId="{6353100D-A86A-4CA2-970A-FF3E90A6C37E}" type="presParOf" srcId="{55EB38D4-D222-4ED6-BB73-D8DEE7F9FE55}" destId="{D6CB90D2-6E61-4099-A1E2-997814681609}" srcOrd="1" destOrd="0" presId="urn:microsoft.com/office/officeart/2005/8/layout/hList7"/>
    <dgm:cxn modelId="{ED6D3F77-55F7-4BA5-94ED-CC1BE70A03B6}" type="presParOf" srcId="{55EB38D4-D222-4ED6-BB73-D8DEE7F9FE55}" destId="{1EE29297-74C1-4B34-A5CF-D1A4C90C80F9}" srcOrd="2" destOrd="0" presId="urn:microsoft.com/office/officeart/2005/8/layout/hList7"/>
    <dgm:cxn modelId="{00853B2E-B5FD-49FA-AC87-65E29EE91054}" type="presParOf" srcId="{1EE29297-74C1-4B34-A5CF-D1A4C90C80F9}" destId="{490198C8-A8FD-4802-A51E-0E10D4038918}" srcOrd="0" destOrd="0" presId="urn:microsoft.com/office/officeart/2005/8/layout/hList7"/>
    <dgm:cxn modelId="{7F1679B1-EE21-499F-BEBD-62DBE4A0D5C8}" type="presParOf" srcId="{1EE29297-74C1-4B34-A5CF-D1A4C90C80F9}" destId="{FDC83906-5A47-4785-A2B7-5AF592E87663}" srcOrd="1" destOrd="0" presId="urn:microsoft.com/office/officeart/2005/8/layout/hList7"/>
    <dgm:cxn modelId="{C1F602A8-FA41-4FC8-9E2C-5C1B17499129}" type="presParOf" srcId="{1EE29297-74C1-4B34-A5CF-D1A4C90C80F9}" destId="{84E83829-860E-4CE4-A16F-D86E60B907C4}" srcOrd="2" destOrd="0" presId="urn:microsoft.com/office/officeart/2005/8/layout/hList7"/>
    <dgm:cxn modelId="{1A10AB3A-9543-4B4C-BA25-78C921A1DE72}" type="presParOf" srcId="{1EE29297-74C1-4B34-A5CF-D1A4C90C80F9}" destId="{C62849F1-8F5F-47D0-89EA-06BB9159697A}" srcOrd="3" destOrd="0" presId="urn:microsoft.com/office/officeart/2005/8/layout/hList7"/>
    <dgm:cxn modelId="{00BA434E-29AB-454B-823F-4B65C16F8E1D}" type="presParOf" srcId="{55EB38D4-D222-4ED6-BB73-D8DEE7F9FE55}" destId="{2BEEFCE7-5C75-4FA6-9B43-6F6442D88F8C}" srcOrd="3" destOrd="0" presId="urn:microsoft.com/office/officeart/2005/8/layout/hList7"/>
    <dgm:cxn modelId="{CE8AA15B-395F-498C-8606-7EC8E31C5645}" type="presParOf" srcId="{55EB38D4-D222-4ED6-BB73-D8DEE7F9FE55}" destId="{B3861116-DA84-4DA3-8C7C-6C778422B2D6}" srcOrd="4" destOrd="0" presId="urn:microsoft.com/office/officeart/2005/8/layout/hList7"/>
    <dgm:cxn modelId="{6AC9512E-FB59-4858-9338-3A7E580610F2}" type="presParOf" srcId="{B3861116-DA84-4DA3-8C7C-6C778422B2D6}" destId="{0AF64821-E5A9-4028-8D5D-01049185DA53}" srcOrd="0" destOrd="0" presId="urn:microsoft.com/office/officeart/2005/8/layout/hList7"/>
    <dgm:cxn modelId="{CFFDCFCE-A004-43CE-9C5D-E01864698E3E}" type="presParOf" srcId="{B3861116-DA84-4DA3-8C7C-6C778422B2D6}" destId="{040DCEB7-5B79-4F2D-883C-F43A76C77266}" srcOrd="1" destOrd="0" presId="urn:microsoft.com/office/officeart/2005/8/layout/hList7"/>
    <dgm:cxn modelId="{D9A97773-01B6-4E46-A0C1-3EAA1F6EC2D9}" type="presParOf" srcId="{B3861116-DA84-4DA3-8C7C-6C778422B2D6}" destId="{ECE084D5-A682-4572-BB97-09617B833D36}" srcOrd="2" destOrd="0" presId="urn:microsoft.com/office/officeart/2005/8/layout/hList7"/>
    <dgm:cxn modelId="{AC99BB8A-E075-4EE8-8D53-E8CE3337B693}" type="presParOf" srcId="{B3861116-DA84-4DA3-8C7C-6C778422B2D6}" destId="{944A4270-35C1-4BB2-B2FD-7C3A18B33217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59AB04-24F1-4DD4-B2BA-BC3F523F47DE}">
      <dsp:nvSpPr>
        <dsp:cNvPr id="0" name=""/>
        <dsp:cNvSpPr/>
      </dsp:nvSpPr>
      <dsp:spPr>
        <a:xfrm>
          <a:off x="1629" y="0"/>
          <a:ext cx="2535427" cy="4643192"/>
        </a:xfrm>
        <a:prstGeom prst="roundRect">
          <a:avLst>
            <a:gd name="adj" fmla="val 10000"/>
          </a:avLst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none" kern="1200" dirty="0">
              <a:solidFill>
                <a:schemeClr val="tx1"/>
              </a:solidFill>
            </a:rPr>
            <a:t>Through Penetrations</a:t>
          </a:r>
        </a:p>
      </dsp:txBody>
      <dsp:txXfrm>
        <a:off x="1629" y="1857276"/>
        <a:ext cx="2535427" cy="1857276"/>
      </dsp:txXfrm>
    </dsp:sp>
    <dsp:sp modelId="{4C823DEC-9E85-4CD4-95C3-B8F7C4552516}">
      <dsp:nvSpPr>
        <dsp:cNvPr id="0" name=""/>
        <dsp:cNvSpPr/>
      </dsp:nvSpPr>
      <dsp:spPr>
        <a:xfrm>
          <a:off x="496252" y="278591"/>
          <a:ext cx="1546182" cy="1546182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0198C8-A8FD-4802-A51E-0E10D4038918}">
      <dsp:nvSpPr>
        <dsp:cNvPr id="0" name=""/>
        <dsp:cNvSpPr/>
      </dsp:nvSpPr>
      <dsp:spPr>
        <a:xfrm>
          <a:off x="2613120" y="0"/>
          <a:ext cx="2535427" cy="4643192"/>
        </a:xfrm>
        <a:prstGeom prst="roundRect">
          <a:avLst>
            <a:gd name="adj" fmla="val 10000"/>
          </a:avLst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tx1"/>
              </a:solidFill>
            </a:rPr>
            <a:t>Joints</a:t>
          </a:r>
          <a:r>
            <a:rPr lang="en-US" sz="2200" kern="1200" dirty="0">
              <a:solidFill>
                <a:schemeClr val="tx1"/>
              </a:solidFill>
            </a:rPr>
            <a:t> </a:t>
          </a:r>
        </a:p>
      </dsp:txBody>
      <dsp:txXfrm>
        <a:off x="2613120" y="1857276"/>
        <a:ext cx="2535427" cy="1857276"/>
      </dsp:txXfrm>
    </dsp:sp>
    <dsp:sp modelId="{C62849F1-8F5F-47D0-89EA-06BB9159697A}">
      <dsp:nvSpPr>
        <dsp:cNvPr id="0" name=""/>
        <dsp:cNvSpPr/>
      </dsp:nvSpPr>
      <dsp:spPr>
        <a:xfrm>
          <a:off x="3107742" y="278591"/>
          <a:ext cx="1546182" cy="1546182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F64821-E5A9-4028-8D5D-01049185DA53}">
      <dsp:nvSpPr>
        <dsp:cNvPr id="0" name=""/>
        <dsp:cNvSpPr/>
      </dsp:nvSpPr>
      <dsp:spPr>
        <a:xfrm>
          <a:off x="5224610" y="0"/>
          <a:ext cx="2535427" cy="4643192"/>
        </a:xfrm>
        <a:prstGeom prst="roundRect">
          <a:avLst>
            <a:gd name="adj" fmla="val 10000"/>
          </a:avLst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 dirty="0">
            <a:solidFill>
              <a:schemeClr val="tx1"/>
            </a:solidFill>
          </a:endParaRP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tx1"/>
              </a:solidFill>
            </a:rPr>
            <a:t>Cable Coating 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 dirty="0"/>
        </a:p>
      </dsp:txBody>
      <dsp:txXfrm>
        <a:off x="5224610" y="1857276"/>
        <a:ext cx="2535427" cy="1857276"/>
      </dsp:txXfrm>
    </dsp:sp>
    <dsp:sp modelId="{944A4270-35C1-4BB2-B2FD-7C3A18B33217}">
      <dsp:nvSpPr>
        <dsp:cNvPr id="0" name=""/>
        <dsp:cNvSpPr/>
      </dsp:nvSpPr>
      <dsp:spPr>
        <a:xfrm>
          <a:off x="5719233" y="278591"/>
          <a:ext cx="1546182" cy="1546182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DE672D-BA0B-4733-93E7-AC793AE716C3}">
      <dsp:nvSpPr>
        <dsp:cNvPr id="0" name=""/>
        <dsp:cNvSpPr/>
      </dsp:nvSpPr>
      <dsp:spPr>
        <a:xfrm>
          <a:off x="312394" y="3707797"/>
          <a:ext cx="7140734" cy="696478"/>
        </a:xfrm>
        <a:prstGeom prst="leftRightArrow">
          <a:avLst/>
        </a:prstGeom>
        <a:solidFill>
          <a:schemeClr val="bg2"/>
        </a:solidFill>
        <a:ln w="12700" cap="flat" cmpd="sng" algn="ctr">
          <a:solidFill>
            <a:srgbClr val="FF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4AFA7-3761-8445-9263-AE47F633EDE7}" type="datetimeFigureOut">
              <a:rPr lang="de-DE" smtClean="0"/>
              <a:t>03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7D08F-8AD7-4649-9064-31956436BA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3290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1A8F4-9290-41F7-ACAD-D26A2F8791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959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5863" y="698500"/>
            <a:ext cx="4652962" cy="3489325"/>
          </a:xfrm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xfrm>
            <a:off x="702474" y="4421860"/>
            <a:ext cx="5618152" cy="4188426"/>
          </a:xfrm>
          <a:noFill/>
        </p:spPr>
        <p:txBody>
          <a:bodyPr/>
          <a:lstStyle/>
          <a:p>
            <a:r>
              <a:rPr lang="en-US" altLang="en-US" dirty="0"/>
              <a:t>Lets look at Hilti solution from</a:t>
            </a:r>
            <a:r>
              <a:rPr lang="en-US" altLang="en-US" baseline="0" dirty="0"/>
              <a:t> trade applications</a:t>
            </a:r>
          </a:p>
          <a:p>
            <a:endParaRPr lang="en-US" altLang="en-US" baseline="0" dirty="0"/>
          </a:p>
          <a:p>
            <a:r>
              <a:rPr lang="en-US" altLang="en-US" baseline="0" dirty="0"/>
              <a:t>This slide is more related to MEPF consultant. After showing it, just ask about current method and Hilti solutions. </a:t>
            </a:r>
            <a:endParaRPr lang="en-US" altLang="en-US" dirty="0"/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>
              <a:spcBef>
                <a:spcPct val="0"/>
              </a:spcBef>
            </a:pPr>
            <a:fld id="{741AA7FD-4203-4443-920F-B550E332DAB0}" type="slidenum">
              <a:rPr lang="en-US" altLang="en-US">
                <a:solidFill>
                  <a:srgbClr val="000000"/>
                </a:solidFill>
              </a:rPr>
              <a:pPr algn="r">
                <a:spcBef>
                  <a:spcPct val="0"/>
                </a:spcBef>
              </a:pPr>
              <a:t>2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793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Trade applications</a:t>
            </a:r>
            <a:r>
              <a:rPr lang="en-US" baseline="0" dirty="0"/>
              <a:t>, lets look at from application wise solution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1A8F4-9290-41F7-ACAD-D26A2F8791A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035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n</a:t>
            </a:r>
            <a:r>
              <a:rPr lang="en-US" baseline="0" dirty="0"/>
              <a:t>k openings Vs Proper fire stooping applications </a:t>
            </a:r>
            <a:r>
              <a:rPr lang="en-US" baseline="0" dirty="0" err="1"/>
              <a:t>wrt</a:t>
            </a:r>
            <a:r>
              <a:rPr lang="en-US" baseline="0" dirty="0"/>
              <a:t> Pipes, Cables &amp; Duct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1A8F4-9290-41F7-ACAD-D26A2F8791A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636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487477"/>
            <a:ext cx="3060000" cy="8748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8" name="Bildplatzhalter 9"/>
          <p:cNvSpPr>
            <a:spLocks noGrp="1"/>
          </p:cNvSpPr>
          <p:nvPr>
            <p:ph type="pic" sz="quarter" idx="13"/>
          </p:nvPr>
        </p:nvSpPr>
        <p:spPr>
          <a:xfrm>
            <a:off x="1539876" y="1"/>
            <a:ext cx="7846736" cy="6861176"/>
          </a:xfrm>
          <a:custGeom>
            <a:avLst/>
            <a:gdLst>
              <a:gd name="connsiteX0" fmla="*/ 2989225 w 7556460"/>
              <a:gd name="connsiteY0" fmla="*/ 0 h 5143500"/>
              <a:gd name="connsiteX1" fmla="*/ 5668129 w 7556460"/>
              <a:gd name="connsiteY1" fmla="*/ 0 h 5143500"/>
              <a:gd name="connsiteX2" fmla="*/ 7556460 w 7556460"/>
              <a:gd name="connsiteY2" fmla="*/ 5143500 h 5143500"/>
              <a:gd name="connsiteX3" fmla="*/ 0 w 7556460"/>
              <a:gd name="connsiteY3" fmla="*/ 5143500 h 5143500"/>
              <a:gd name="connsiteX4" fmla="*/ 2989225 w 7556460"/>
              <a:gd name="connsiteY4" fmla="*/ 0 h 5143500"/>
              <a:gd name="connsiteX0" fmla="*/ 2989225 w 5668129"/>
              <a:gd name="connsiteY0" fmla="*/ 0 h 5143500"/>
              <a:gd name="connsiteX1" fmla="*/ 5668129 w 5668129"/>
              <a:gd name="connsiteY1" fmla="*/ 0 h 5143500"/>
              <a:gd name="connsiteX2" fmla="*/ 5515729 w 5668129"/>
              <a:gd name="connsiteY2" fmla="*/ 5062538 h 5143500"/>
              <a:gd name="connsiteX3" fmla="*/ 0 w 5668129"/>
              <a:gd name="connsiteY3" fmla="*/ 5143500 h 5143500"/>
              <a:gd name="connsiteX4" fmla="*/ 2989225 w 5668129"/>
              <a:gd name="connsiteY4" fmla="*/ 0 h 5143500"/>
              <a:gd name="connsiteX0" fmla="*/ 2989225 w 5670510"/>
              <a:gd name="connsiteY0" fmla="*/ 0 h 5143500"/>
              <a:gd name="connsiteX1" fmla="*/ 5668129 w 5670510"/>
              <a:gd name="connsiteY1" fmla="*/ 0 h 5143500"/>
              <a:gd name="connsiteX2" fmla="*/ 5670510 w 5670510"/>
              <a:gd name="connsiteY2" fmla="*/ 5141120 h 5143500"/>
              <a:gd name="connsiteX3" fmla="*/ 0 w 5670510"/>
              <a:gd name="connsiteY3" fmla="*/ 5143500 h 5143500"/>
              <a:gd name="connsiteX4" fmla="*/ 2989225 w 5670510"/>
              <a:gd name="connsiteY4" fmla="*/ 0 h 5143500"/>
              <a:gd name="connsiteX0" fmla="*/ 2989225 w 5670510"/>
              <a:gd name="connsiteY0" fmla="*/ 0 h 5143500"/>
              <a:gd name="connsiteX1" fmla="*/ 5668129 w 5670510"/>
              <a:gd name="connsiteY1" fmla="*/ 0 h 5143500"/>
              <a:gd name="connsiteX2" fmla="*/ 5670510 w 5670510"/>
              <a:gd name="connsiteY2" fmla="*/ 5141120 h 5143500"/>
              <a:gd name="connsiteX3" fmla="*/ 0 w 5670510"/>
              <a:gd name="connsiteY3" fmla="*/ 5143500 h 5143500"/>
              <a:gd name="connsiteX4" fmla="*/ 2989225 w 5670510"/>
              <a:gd name="connsiteY4" fmla="*/ 0 h 5143500"/>
              <a:gd name="connsiteX0" fmla="*/ 2989225 w 5668358"/>
              <a:gd name="connsiteY0" fmla="*/ 0 h 5143500"/>
              <a:gd name="connsiteX1" fmla="*/ 5668129 w 5668358"/>
              <a:gd name="connsiteY1" fmla="*/ 0 h 5143500"/>
              <a:gd name="connsiteX2" fmla="*/ 5668129 w 5668358"/>
              <a:gd name="connsiteY2" fmla="*/ 5141120 h 5143500"/>
              <a:gd name="connsiteX3" fmla="*/ 0 w 5668358"/>
              <a:gd name="connsiteY3" fmla="*/ 5143500 h 5143500"/>
              <a:gd name="connsiteX4" fmla="*/ 2989225 w 5668358"/>
              <a:gd name="connsiteY4" fmla="*/ 0 h 5143500"/>
              <a:gd name="connsiteX0" fmla="*/ 2746338 w 5668358"/>
              <a:gd name="connsiteY0" fmla="*/ 2381 h 5143500"/>
              <a:gd name="connsiteX1" fmla="*/ 5668129 w 5668358"/>
              <a:gd name="connsiteY1" fmla="*/ 0 h 5143500"/>
              <a:gd name="connsiteX2" fmla="*/ 5668129 w 5668358"/>
              <a:gd name="connsiteY2" fmla="*/ 5141120 h 5143500"/>
              <a:gd name="connsiteX3" fmla="*/ 0 w 5668358"/>
              <a:gd name="connsiteY3" fmla="*/ 5143500 h 5143500"/>
              <a:gd name="connsiteX4" fmla="*/ 2746338 w 5668358"/>
              <a:gd name="connsiteY4" fmla="*/ 2381 h 5143500"/>
              <a:gd name="connsiteX0" fmla="*/ 2965413 w 5887433"/>
              <a:gd name="connsiteY0" fmla="*/ 2381 h 5141120"/>
              <a:gd name="connsiteX1" fmla="*/ 5887204 w 5887433"/>
              <a:gd name="connsiteY1" fmla="*/ 0 h 5141120"/>
              <a:gd name="connsiteX2" fmla="*/ 5887204 w 5887433"/>
              <a:gd name="connsiteY2" fmla="*/ 5141120 h 5141120"/>
              <a:gd name="connsiteX3" fmla="*/ 0 w 5887433"/>
              <a:gd name="connsiteY3" fmla="*/ 5141119 h 5141120"/>
              <a:gd name="connsiteX4" fmla="*/ 2965413 w 5887433"/>
              <a:gd name="connsiteY4" fmla="*/ 2381 h 5141120"/>
              <a:gd name="connsiteX0" fmla="*/ 2967794 w 5889814"/>
              <a:gd name="connsiteY0" fmla="*/ 2381 h 5141120"/>
              <a:gd name="connsiteX1" fmla="*/ 5889585 w 5889814"/>
              <a:gd name="connsiteY1" fmla="*/ 0 h 5141120"/>
              <a:gd name="connsiteX2" fmla="*/ 5889585 w 5889814"/>
              <a:gd name="connsiteY2" fmla="*/ 5141120 h 5141120"/>
              <a:gd name="connsiteX3" fmla="*/ 0 w 5889814"/>
              <a:gd name="connsiteY3" fmla="*/ 5141119 h 5141120"/>
              <a:gd name="connsiteX4" fmla="*/ 2967794 w 5889814"/>
              <a:gd name="connsiteY4" fmla="*/ 2381 h 5141120"/>
              <a:gd name="connsiteX0" fmla="*/ 2965413 w 5887433"/>
              <a:gd name="connsiteY0" fmla="*/ 2381 h 5143500"/>
              <a:gd name="connsiteX1" fmla="*/ 5887204 w 5887433"/>
              <a:gd name="connsiteY1" fmla="*/ 0 h 5143500"/>
              <a:gd name="connsiteX2" fmla="*/ 5887204 w 5887433"/>
              <a:gd name="connsiteY2" fmla="*/ 5141120 h 5143500"/>
              <a:gd name="connsiteX3" fmla="*/ 0 w 5887433"/>
              <a:gd name="connsiteY3" fmla="*/ 5143500 h 5143500"/>
              <a:gd name="connsiteX4" fmla="*/ 2965413 w 5887433"/>
              <a:gd name="connsiteY4" fmla="*/ 2381 h 5143500"/>
              <a:gd name="connsiteX0" fmla="*/ 2967794 w 5887433"/>
              <a:gd name="connsiteY0" fmla="*/ 0 h 5143500"/>
              <a:gd name="connsiteX1" fmla="*/ 5887204 w 5887433"/>
              <a:gd name="connsiteY1" fmla="*/ 0 h 5143500"/>
              <a:gd name="connsiteX2" fmla="*/ 5887204 w 5887433"/>
              <a:gd name="connsiteY2" fmla="*/ 5141120 h 5143500"/>
              <a:gd name="connsiteX3" fmla="*/ 0 w 5887433"/>
              <a:gd name="connsiteY3" fmla="*/ 5143500 h 5143500"/>
              <a:gd name="connsiteX4" fmla="*/ 2967794 w 5887433"/>
              <a:gd name="connsiteY4" fmla="*/ 0 h 5143500"/>
              <a:gd name="connsiteX0" fmla="*/ 2967794 w 5887433"/>
              <a:gd name="connsiteY0" fmla="*/ 0 h 5143500"/>
              <a:gd name="connsiteX1" fmla="*/ 5887204 w 5887433"/>
              <a:gd name="connsiteY1" fmla="*/ 0 h 5143500"/>
              <a:gd name="connsiteX2" fmla="*/ 5887204 w 5887433"/>
              <a:gd name="connsiteY2" fmla="*/ 5141120 h 5143500"/>
              <a:gd name="connsiteX3" fmla="*/ 0 w 5887433"/>
              <a:gd name="connsiteY3" fmla="*/ 5143500 h 5143500"/>
              <a:gd name="connsiteX4" fmla="*/ 2967794 w 5887433"/>
              <a:gd name="connsiteY4" fmla="*/ 0 h 5143500"/>
              <a:gd name="connsiteX0" fmla="*/ 2965413 w 5885052"/>
              <a:gd name="connsiteY0" fmla="*/ 0 h 5143500"/>
              <a:gd name="connsiteX1" fmla="*/ 5884823 w 5885052"/>
              <a:gd name="connsiteY1" fmla="*/ 0 h 5143500"/>
              <a:gd name="connsiteX2" fmla="*/ 5884823 w 5885052"/>
              <a:gd name="connsiteY2" fmla="*/ 5141120 h 5143500"/>
              <a:gd name="connsiteX3" fmla="*/ 0 w 5885052"/>
              <a:gd name="connsiteY3" fmla="*/ 5143500 h 5143500"/>
              <a:gd name="connsiteX4" fmla="*/ 2965413 w 5885052"/>
              <a:gd name="connsiteY4" fmla="*/ 0 h 5143500"/>
              <a:gd name="connsiteX0" fmla="*/ 2965413 w 5885052"/>
              <a:gd name="connsiteY0" fmla="*/ 0 h 5143502"/>
              <a:gd name="connsiteX1" fmla="*/ 5884823 w 5885052"/>
              <a:gd name="connsiteY1" fmla="*/ 0 h 5143502"/>
              <a:gd name="connsiteX2" fmla="*/ 5884823 w 5885052"/>
              <a:gd name="connsiteY2" fmla="*/ 5143502 h 5143502"/>
              <a:gd name="connsiteX3" fmla="*/ 0 w 5885052"/>
              <a:gd name="connsiteY3" fmla="*/ 5143500 h 5143502"/>
              <a:gd name="connsiteX4" fmla="*/ 2965413 w 5885052"/>
              <a:gd name="connsiteY4" fmla="*/ 0 h 5143502"/>
              <a:gd name="connsiteX0" fmla="*/ 2965413 w 5885052"/>
              <a:gd name="connsiteY0" fmla="*/ 0 h 5145882"/>
              <a:gd name="connsiteX1" fmla="*/ 5884823 w 5885052"/>
              <a:gd name="connsiteY1" fmla="*/ 0 h 5145882"/>
              <a:gd name="connsiteX2" fmla="*/ 5884823 w 5885052"/>
              <a:gd name="connsiteY2" fmla="*/ 5143502 h 5145882"/>
              <a:gd name="connsiteX3" fmla="*/ 0 w 5885052"/>
              <a:gd name="connsiteY3" fmla="*/ 5145882 h 5145882"/>
              <a:gd name="connsiteX4" fmla="*/ 2965413 w 5885052"/>
              <a:gd name="connsiteY4" fmla="*/ 0 h 5145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5052" h="5145882">
                <a:moveTo>
                  <a:pt x="2965413" y="0"/>
                </a:moveTo>
                <a:lnTo>
                  <a:pt x="5884823" y="0"/>
                </a:lnTo>
                <a:cubicBezTo>
                  <a:pt x="5885617" y="1713707"/>
                  <a:pt x="5884029" y="3429795"/>
                  <a:pt x="5884823" y="5143502"/>
                </a:cubicBezTo>
                <a:lnTo>
                  <a:pt x="0" y="5145882"/>
                </a:lnTo>
                <a:lnTo>
                  <a:pt x="29654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sz="1400" dirty="0"/>
            </a:lvl1pPr>
          </a:lstStyle>
          <a:p>
            <a:pPr marL="0" lvl="0" indent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1368633"/>
            <a:ext cx="4140000" cy="1080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513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241200" indent="-241200">
              <a:buClr>
                <a:schemeClr val="accent4">
                  <a:lumMod val="60000"/>
                  <a:lumOff val="40000"/>
                </a:schemeClr>
              </a:buClr>
              <a:buFont typeface="Arial" charset="0"/>
              <a:buChar char="•"/>
              <a:defRPr/>
            </a:lvl2pPr>
            <a:lvl3pPr marL="526950" indent="-285750"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.LucidaGrandeUI" charset="0"/>
              <a:buChar char="‐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6950" indent="-285750"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3600" indent="-241200"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marL="482400" lvl="2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.LucidaGrandeUI" charset="0"/>
              <a:buChar char="–"/>
            </a:pPr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marL="482400" lvl="3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/>
              <a:buChar char="•"/>
            </a:pPr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marL="723600" lvl="4" indent="-241200" algn="l" defTabSz="68580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accent4">
                  <a:lumMod val="60000"/>
                  <a:lumOff val="40000"/>
                </a:schemeClr>
              </a:buClr>
              <a:buFont typeface=".AppleSystemUIFont" charset="-120"/>
              <a:buChar char="–"/>
            </a:pPr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442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lou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5162120" y="-9526"/>
            <a:ext cx="3980329" cy="6867525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0" fmla="*/ 0 w 5724128"/>
              <a:gd name="connsiteY0" fmla="*/ 5150644 h 5150644"/>
              <a:gd name="connsiteX1" fmla="*/ 5724128 w 5724128"/>
              <a:gd name="connsiteY1" fmla="*/ 0 h 5150644"/>
              <a:gd name="connsiteX2" fmla="*/ 5724128 w 5724128"/>
              <a:gd name="connsiteY2" fmla="*/ 5150644 h 5150644"/>
              <a:gd name="connsiteX3" fmla="*/ 0 w 5724128"/>
              <a:gd name="connsiteY3" fmla="*/ 5150644 h 5150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50644">
                <a:moveTo>
                  <a:pt x="0" y="5150644"/>
                </a:moveTo>
                <a:lnTo>
                  <a:pt x="5724128" y="0"/>
                </a:lnTo>
                <a:lnTo>
                  <a:pt x="5724128" y="5150644"/>
                </a:lnTo>
                <a:lnTo>
                  <a:pt x="0" y="515064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76400" y="6469200"/>
            <a:ext cx="144643" cy="216965"/>
          </a:xfrm>
          <a:prstGeom prst="rect">
            <a:avLst/>
          </a:prstGeom>
        </p:spPr>
      </p:pic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58775" y="1591200"/>
            <a:ext cx="6480000" cy="4356100"/>
          </a:xfrm>
        </p:spPr>
        <p:txBody>
          <a:bodyPr/>
          <a:lstStyle>
            <a:lvl2pPr>
              <a:spcBef>
                <a:spcPts val="10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05600" y="6469200"/>
            <a:ext cx="5968799" cy="187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147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and coloured are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/>
          <p:cNvSpPr/>
          <p:nvPr userDrawn="1"/>
        </p:nvSpPr>
        <p:spPr>
          <a:xfrm>
            <a:off x="0" y="0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05600" y="6481232"/>
            <a:ext cx="5968799" cy="187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741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de-DE" smtClean="0"/>
              <a:t>‹#›</a:t>
            </a:fld>
            <a:endParaRPr lang="de-DE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3108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05600" y="6469200"/>
            <a:ext cx="5968799" cy="187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610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05600" y="6469200"/>
            <a:ext cx="5968799" cy="187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125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IRESTOP CONTRACTOR TRAINING / 10 JUNE 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0838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#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597741" y="1543891"/>
            <a:ext cx="8137525" cy="459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05600" y="6469200"/>
            <a:ext cx="5968799" cy="187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367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/>
          <p:cNvSpPr txBox="1">
            <a:spLocks/>
          </p:cNvSpPr>
          <p:nvPr userDrawn="1"/>
        </p:nvSpPr>
        <p:spPr>
          <a:xfrm>
            <a:off x="1605600" y="6469200"/>
            <a:ext cx="5968799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ilti : Passive fire prote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082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957867"/>
            <a:ext cx="4680000" cy="8748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8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364186" y="-1"/>
            <a:ext cx="5779813" cy="6861600"/>
          </a:xfrm>
          <a:custGeom>
            <a:avLst/>
            <a:gdLst>
              <a:gd name="connsiteX0" fmla="*/ 2989225 w 7556460"/>
              <a:gd name="connsiteY0" fmla="*/ 0 h 5143500"/>
              <a:gd name="connsiteX1" fmla="*/ 5668129 w 7556460"/>
              <a:gd name="connsiteY1" fmla="*/ 0 h 5143500"/>
              <a:gd name="connsiteX2" fmla="*/ 7556460 w 7556460"/>
              <a:gd name="connsiteY2" fmla="*/ 5143500 h 5143500"/>
              <a:gd name="connsiteX3" fmla="*/ 0 w 7556460"/>
              <a:gd name="connsiteY3" fmla="*/ 5143500 h 5143500"/>
              <a:gd name="connsiteX4" fmla="*/ 2989225 w 7556460"/>
              <a:gd name="connsiteY4" fmla="*/ 0 h 5143500"/>
              <a:gd name="connsiteX0" fmla="*/ 2989225 w 5668129"/>
              <a:gd name="connsiteY0" fmla="*/ 0 h 5143500"/>
              <a:gd name="connsiteX1" fmla="*/ 5668129 w 5668129"/>
              <a:gd name="connsiteY1" fmla="*/ 0 h 5143500"/>
              <a:gd name="connsiteX2" fmla="*/ 5515729 w 5668129"/>
              <a:gd name="connsiteY2" fmla="*/ 5062538 h 5143500"/>
              <a:gd name="connsiteX3" fmla="*/ 0 w 5668129"/>
              <a:gd name="connsiteY3" fmla="*/ 5143500 h 5143500"/>
              <a:gd name="connsiteX4" fmla="*/ 2989225 w 5668129"/>
              <a:gd name="connsiteY4" fmla="*/ 0 h 5143500"/>
              <a:gd name="connsiteX0" fmla="*/ 2989225 w 5670510"/>
              <a:gd name="connsiteY0" fmla="*/ 0 h 5143500"/>
              <a:gd name="connsiteX1" fmla="*/ 5668129 w 5670510"/>
              <a:gd name="connsiteY1" fmla="*/ 0 h 5143500"/>
              <a:gd name="connsiteX2" fmla="*/ 5670510 w 5670510"/>
              <a:gd name="connsiteY2" fmla="*/ 5141120 h 5143500"/>
              <a:gd name="connsiteX3" fmla="*/ 0 w 5670510"/>
              <a:gd name="connsiteY3" fmla="*/ 5143500 h 5143500"/>
              <a:gd name="connsiteX4" fmla="*/ 2989225 w 5670510"/>
              <a:gd name="connsiteY4" fmla="*/ 0 h 5143500"/>
              <a:gd name="connsiteX0" fmla="*/ 2989225 w 5670510"/>
              <a:gd name="connsiteY0" fmla="*/ 0 h 5143500"/>
              <a:gd name="connsiteX1" fmla="*/ 5668129 w 5670510"/>
              <a:gd name="connsiteY1" fmla="*/ 0 h 5143500"/>
              <a:gd name="connsiteX2" fmla="*/ 5670510 w 5670510"/>
              <a:gd name="connsiteY2" fmla="*/ 5141120 h 5143500"/>
              <a:gd name="connsiteX3" fmla="*/ 0 w 5670510"/>
              <a:gd name="connsiteY3" fmla="*/ 5143500 h 5143500"/>
              <a:gd name="connsiteX4" fmla="*/ 2989225 w 5670510"/>
              <a:gd name="connsiteY4" fmla="*/ 0 h 5143500"/>
              <a:gd name="connsiteX0" fmla="*/ 2989225 w 5668358"/>
              <a:gd name="connsiteY0" fmla="*/ 0 h 5143500"/>
              <a:gd name="connsiteX1" fmla="*/ 5668129 w 5668358"/>
              <a:gd name="connsiteY1" fmla="*/ 0 h 5143500"/>
              <a:gd name="connsiteX2" fmla="*/ 5668129 w 5668358"/>
              <a:gd name="connsiteY2" fmla="*/ 5141120 h 5143500"/>
              <a:gd name="connsiteX3" fmla="*/ 0 w 5668358"/>
              <a:gd name="connsiteY3" fmla="*/ 5143500 h 5143500"/>
              <a:gd name="connsiteX4" fmla="*/ 2989225 w 5668358"/>
              <a:gd name="connsiteY4" fmla="*/ 0 h 5143500"/>
              <a:gd name="connsiteX0" fmla="*/ 2989225 w 5668129"/>
              <a:gd name="connsiteY0" fmla="*/ 2381 h 5145881"/>
              <a:gd name="connsiteX1" fmla="*/ 4289386 w 5668129"/>
              <a:gd name="connsiteY1" fmla="*/ 0 h 5145881"/>
              <a:gd name="connsiteX2" fmla="*/ 5668129 w 5668129"/>
              <a:gd name="connsiteY2" fmla="*/ 5143501 h 5145881"/>
              <a:gd name="connsiteX3" fmla="*/ 0 w 5668129"/>
              <a:gd name="connsiteY3" fmla="*/ 5145881 h 5145881"/>
              <a:gd name="connsiteX4" fmla="*/ 2989225 w 5668129"/>
              <a:gd name="connsiteY4" fmla="*/ 2381 h 5145881"/>
              <a:gd name="connsiteX0" fmla="*/ 2989225 w 5668129"/>
              <a:gd name="connsiteY0" fmla="*/ 0 h 5143500"/>
              <a:gd name="connsiteX1" fmla="*/ 4289386 w 5668129"/>
              <a:gd name="connsiteY1" fmla="*/ 0 h 5143500"/>
              <a:gd name="connsiteX2" fmla="*/ 5668129 w 5668129"/>
              <a:gd name="connsiteY2" fmla="*/ 5141120 h 5143500"/>
              <a:gd name="connsiteX3" fmla="*/ 0 w 5668129"/>
              <a:gd name="connsiteY3" fmla="*/ 5143500 h 5143500"/>
              <a:gd name="connsiteX4" fmla="*/ 2989225 w 5668129"/>
              <a:gd name="connsiteY4" fmla="*/ 0 h 5143500"/>
              <a:gd name="connsiteX0" fmla="*/ 2989225 w 4291767"/>
              <a:gd name="connsiteY0" fmla="*/ 0 h 5143500"/>
              <a:gd name="connsiteX1" fmla="*/ 4289386 w 4291767"/>
              <a:gd name="connsiteY1" fmla="*/ 0 h 5143500"/>
              <a:gd name="connsiteX2" fmla="*/ 4291767 w 4291767"/>
              <a:gd name="connsiteY2" fmla="*/ 5141120 h 5143500"/>
              <a:gd name="connsiteX3" fmla="*/ 0 w 4291767"/>
              <a:gd name="connsiteY3" fmla="*/ 5143500 h 5143500"/>
              <a:gd name="connsiteX4" fmla="*/ 2989225 w 4291767"/>
              <a:gd name="connsiteY4" fmla="*/ 0 h 5143500"/>
              <a:gd name="connsiteX0" fmla="*/ 2989225 w 4291997"/>
              <a:gd name="connsiteY0" fmla="*/ 0 h 5143500"/>
              <a:gd name="connsiteX1" fmla="*/ 4291768 w 4291997"/>
              <a:gd name="connsiteY1" fmla="*/ 0 h 5143500"/>
              <a:gd name="connsiteX2" fmla="*/ 4291767 w 4291997"/>
              <a:gd name="connsiteY2" fmla="*/ 5141120 h 5143500"/>
              <a:gd name="connsiteX3" fmla="*/ 0 w 4291997"/>
              <a:gd name="connsiteY3" fmla="*/ 5143500 h 5143500"/>
              <a:gd name="connsiteX4" fmla="*/ 2989225 w 4291997"/>
              <a:gd name="connsiteY4" fmla="*/ 0 h 5143500"/>
              <a:gd name="connsiteX0" fmla="*/ 2922550 w 4291997"/>
              <a:gd name="connsiteY0" fmla="*/ 2381 h 5143500"/>
              <a:gd name="connsiteX1" fmla="*/ 4291768 w 4291997"/>
              <a:gd name="connsiteY1" fmla="*/ 0 h 5143500"/>
              <a:gd name="connsiteX2" fmla="*/ 4291767 w 4291997"/>
              <a:gd name="connsiteY2" fmla="*/ 5141120 h 5143500"/>
              <a:gd name="connsiteX3" fmla="*/ 0 w 4291997"/>
              <a:gd name="connsiteY3" fmla="*/ 5143500 h 5143500"/>
              <a:gd name="connsiteX4" fmla="*/ 2922550 w 4291997"/>
              <a:gd name="connsiteY4" fmla="*/ 2381 h 5143500"/>
              <a:gd name="connsiteX0" fmla="*/ 2965412 w 4334859"/>
              <a:gd name="connsiteY0" fmla="*/ 2381 h 5143500"/>
              <a:gd name="connsiteX1" fmla="*/ 4334630 w 4334859"/>
              <a:gd name="connsiteY1" fmla="*/ 0 h 5143500"/>
              <a:gd name="connsiteX2" fmla="*/ 4334629 w 4334859"/>
              <a:gd name="connsiteY2" fmla="*/ 5141120 h 5143500"/>
              <a:gd name="connsiteX3" fmla="*/ 0 w 4334859"/>
              <a:gd name="connsiteY3" fmla="*/ 5143500 h 5143500"/>
              <a:gd name="connsiteX4" fmla="*/ 2965412 w 4334859"/>
              <a:gd name="connsiteY4" fmla="*/ 2381 h 5143500"/>
              <a:gd name="connsiteX0" fmla="*/ 2965412 w 4334859"/>
              <a:gd name="connsiteY0" fmla="*/ 0 h 5143500"/>
              <a:gd name="connsiteX1" fmla="*/ 4334630 w 4334859"/>
              <a:gd name="connsiteY1" fmla="*/ 0 h 5143500"/>
              <a:gd name="connsiteX2" fmla="*/ 4334629 w 4334859"/>
              <a:gd name="connsiteY2" fmla="*/ 5141120 h 5143500"/>
              <a:gd name="connsiteX3" fmla="*/ 0 w 4334859"/>
              <a:gd name="connsiteY3" fmla="*/ 5143500 h 5143500"/>
              <a:gd name="connsiteX4" fmla="*/ 2965412 w 4334859"/>
              <a:gd name="connsiteY4" fmla="*/ 0 h 5143500"/>
              <a:gd name="connsiteX0" fmla="*/ 2965412 w 4334859"/>
              <a:gd name="connsiteY0" fmla="*/ 0 h 5143502"/>
              <a:gd name="connsiteX1" fmla="*/ 4334630 w 4334859"/>
              <a:gd name="connsiteY1" fmla="*/ 0 h 5143502"/>
              <a:gd name="connsiteX2" fmla="*/ 4334630 w 4334859"/>
              <a:gd name="connsiteY2" fmla="*/ 5143502 h 5143502"/>
              <a:gd name="connsiteX3" fmla="*/ 0 w 4334859"/>
              <a:gd name="connsiteY3" fmla="*/ 5143500 h 5143502"/>
              <a:gd name="connsiteX4" fmla="*/ 2965412 w 4334859"/>
              <a:gd name="connsiteY4" fmla="*/ 0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4859" h="5143502">
                <a:moveTo>
                  <a:pt x="2965412" y="0"/>
                </a:moveTo>
                <a:lnTo>
                  <a:pt x="4334630" y="0"/>
                </a:lnTo>
                <a:cubicBezTo>
                  <a:pt x="4335424" y="1713707"/>
                  <a:pt x="4333836" y="3429795"/>
                  <a:pt x="4334630" y="5143502"/>
                </a:cubicBezTo>
                <a:lnTo>
                  <a:pt x="0" y="5143500"/>
                </a:lnTo>
                <a:lnTo>
                  <a:pt x="296541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sz="1400" dirty="0"/>
            </a:lvl1pPr>
          </a:lstStyle>
          <a:p>
            <a:pPr marL="0" lvl="0" indent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1368633"/>
            <a:ext cx="5580000" cy="1548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9162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ilhouetted 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744000" y="0"/>
            <a:ext cx="5400000" cy="6858000"/>
          </a:xfrm>
          <a:noFill/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487477"/>
            <a:ext cx="3060000" cy="8748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1368633"/>
            <a:ext cx="4140000" cy="1080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9379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11" name="Rechteck 7"/>
          <p:cNvSpPr/>
          <p:nvPr userDrawn="1"/>
        </p:nvSpPr>
        <p:spPr>
          <a:xfrm>
            <a:off x="3362850" y="-3176"/>
            <a:ext cx="5781146" cy="6861177"/>
          </a:xfrm>
          <a:custGeom>
            <a:avLst/>
            <a:gdLst>
              <a:gd name="connsiteX0" fmla="*/ 2989225 w 5724128"/>
              <a:gd name="connsiteY0" fmla="*/ 2381 h 5145881"/>
              <a:gd name="connsiteX1" fmla="*/ 4292997 w 5724128"/>
              <a:gd name="connsiteY1" fmla="*/ 0 h 5145881"/>
              <a:gd name="connsiteX2" fmla="*/ 5724128 w 5724128"/>
              <a:gd name="connsiteY2" fmla="*/ 5145881 h 5145881"/>
              <a:gd name="connsiteX3" fmla="*/ 0 w 5724128"/>
              <a:gd name="connsiteY3" fmla="*/ 5145881 h 5145881"/>
              <a:gd name="connsiteX4" fmla="*/ 2989225 w 5724128"/>
              <a:gd name="connsiteY4" fmla="*/ 2381 h 5145881"/>
              <a:gd name="connsiteX0" fmla="*/ 2989225 w 4292997"/>
              <a:gd name="connsiteY0" fmla="*/ 2381 h 5145881"/>
              <a:gd name="connsiteX1" fmla="*/ 4292997 w 4292997"/>
              <a:gd name="connsiteY1" fmla="*/ 0 h 5145881"/>
              <a:gd name="connsiteX2" fmla="*/ 4292997 w 4292997"/>
              <a:gd name="connsiteY2" fmla="*/ 5143500 h 5145881"/>
              <a:gd name="connsiteX3" fmla="*/ 0 w 4292997"/>
              <a:gd name="connsiteY3" fmla="*/ 5145881 h 5145881"/>
              <a:gd name="connsiteX4" fmla="*/ 2989225 w 4292997"/>
              <a:gd name="connsiteY4" fmla="*/ 2381 h 5145881"/>
              <a:gd name="connsiteX0" fmla="*/ 2924931 w 4292997"/>
              <a:gd name="connsiteY0" fmla="*/ 2381 h 5145881"/>
              <a:gd name="connsiteX1" fmla="*/ 4292997 w 4292997"/>
              <a:gd name="connsiteY1" fmla="*/ 0 h 5145881"/>
              <a:gd name="connsiteX2" fmla="*/ 4292997 w 4292997"/>
              <a:gd name="connsiteY2" fmla="*/ 5143500 h 5145881"/>
              <a:gd name="connsiteX3" fmla="*/ 0 w 4292997"/>
              <a:gd name="connsiteY3" fmla="*/ 5145881 h 5145881"/>
              <a:gd name="connsiteX4" fmla="*/ 2924931 w 4292997"/>
              <a:gd name="connsiteY4" fmla="*/ 2381 h 5145881"/>
              <a:gd name="connsiteX0" fmla="*/ 2970175 w 4338241"/>
              <a:gd name="connsiteY0" fmla="*/ 2381 h 5148262"/>
              <a:gd name="connsiteX1" fmla="*/ 4338241 w 4338241"/>
              <a:gd name="connsiteY1" fmla="*/ 0 h 5148262"/>
              <a:gd name="connsiteX2" fmla="*/ 4338241 w 4338241"/>
              <a:gd name="connsiteY2" fmla="*/ 5143500 h 5148262"/>
              <a:gd name="connsiteX3" fmla="*/ 0 w 4338241"/>
              <a:gd name="connsiteY3" fmla="*/ 5148262 h 5148262"/>
              <a:gd name="connsiteX4" fmla="*/ 2970175 w 4338241"/>
              <a:gd name="connsiteY4" fmla="*/ 2381 h 5148262"/>
              <a:gd name="connsiteX0" fmla="*/ 2967794 w 4335860"/>
              <a:gd name="connsiteY0" fmla="*/ 2381 h 5145881"/>
              <a:gd name="connsiteX1" fmla="*/ 4335860 w 4335860"/>
              <a:gd name="connsiteY1" fmla="*/ 0 h 5145881"/>
              <a:gd name="connsiteX2" fmla="*/ 4335860 w 4335860"/>
              <a:gd name="connsiteY2" fmla="*/ 5143500 h 5145881"/>
              <a:gd name="connsiteX3" fmla="*/ 0 w 4335860"/>
              <a:gd name="connsiteY3" fmla="*/ 5145881 h 5145881"/>
              <a:gd name="connsiteX4" fmla="*/ 2967794 w 4335860"/>
              <a:gd name="connsiteY4" fmla="*/ 2381 h 5145881"/>
              <a:gd name="connsiteX0" fmla="*/ 2967794 w 4335860"/>
              <a:gd name="connsiteY0" fmla="*/ 2381 h 5145882"/>
              <a:gd name="connsiteX1" fmla="*/ 4335860 w 4335860"/>
              <a:gd name="connsiteY1" fmla="*/ 0 h 5145882"/>
              <a:gd name="connsiteX2" fmla="*/ 4335860 w 4335860"/>
              <a:gd name="connsiteY2" fmla="*/ 5145882 h 5145882"/>
              <a:gd name="connsiteX3" fmla="*/ 0 w 4335860"/>
              <a:gd name="connsiteY3" fmla="*/ 5145881 h 5145882"/>
              <a:gd name="connsiteX4" fmla="*/ 2967794 w 4335860"/>
              <a:gd name="connsiteY4" fmla="*/ 2381 h 5145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5860" h="5145882">
                <a:moveTo>
                  <a:pt x="2967794" y="2381"/>
                </a:moveTo>
                <a:lnTo>
                  <a:pt x="4335860" y="0"/>
                </a:lnTo>
                <a:lnTo>
                  <a:pt x="4335860" y="5145882"/>
                </a:lnTo>
                <a:lnTo>
                  <a:pt x="0" y="5145881"/>
                </a:lnTo>
                <a:lnTo>
                  <a:pt x="2967794" y="238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1368633"/>
            <a:ext cx="5760000" cy="1548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957866"/>
            <a:ext cx="4500000" cy="8748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6291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7"/>
          <p:cNvSpPr/>
          <p:nvPr userDrawn="1"/>
        </p:nvSpPr>
        <p:spPr>
          <a:xfrm>
            <a:off x="4280429" y="-3177"/>
            <a:ext cx="4863877" cy="6867531"/>
          </a:xfrm>
          <a:custGeom>
            <a:avLst/>
            <a:gdLst>
              <a:gd name="connsiteX0" fmla="*/ 2989225 w 5724128"/>
              <a:gd name="connsiteY0" fmla="*/ 2381 h 5145881"/>
              <a:gd name="connsiteX1" fmla="*/ 4292997 w 5724128"/>
              <a:gd name="connsiteY1" fmla="*/ 0 h 5145881"/>
              <a:gd name="connsiteX2" fmla="*/ 5724128 w 5724128"/>
              <a:gd name="connsiteY2" fmla="*/ 5145881 h 5145881"/>
              <a:gd name="connsiteX3" fmla="*/ 0 w 5724128"/>
              <a:gd name="connsiteY3" fmla="*/ 5145881 h 5145881"/>
              <a:gd name="connsiteX4" fmla="*/ 2989225 w 5724128"/>
              <a:gd name="connsiteY4" fmla="*/ 2381 h 5145881"/>
              <a:gd name="connsiteX0" fmla="*/ 2989225 w 4292997"/>
              <a:gd name="connsiteY0" fmla="*/ 2381 h 5145881"/>
              <a:gd name="connsiteX1" fmla="*/ 4292997 w 4292997"/>
              <a:gd name="connsiteY1" fmla="*/ 0 h 5145881"/>
              <a:gd name="connsiteX2" fmla="*/ 4292997 w 4292997"/>
              <a:gd name="connsiteY2" fmla="*/ 5143500 h 5145881"/>
              <a:gd name="connsiteX3" fmla="*/ 0 w 4292997"/>
              <a:gd name="connsiteY3" fmla="*/ 5145881 h 5145881"/>
              <a:gd name="connsiteX4" fmla="*/ 2989225 w 4292997"/>
              <a:gd name="connsiteY4" fmla="*/ 2381 h 5145881"/>
              <a:gd name="connsiteX0" fmla="*/ 2989225 w 4292997"/>
              <a:gd name="connsiteY0" fmla="*/ 2381 h 5145881"/>
              <a:gd name="connsiteX1" fmla="*/ 3450035 w 4292997"/>
              <a:gd name="connsiteY1" fmla="*/ 0 h 5145881"/>
              <a:gd name="connsiteX2" fmla="*/ 4292997 w 4292997"/>
              <a:gd name="connsiteY2" fmla="*/ 5143500 h 5145881"/>
              <a:gd name="connsiteX3" fmla="*/ 0 w 4292997"/>
              <a:gd name="connsiteY3" fmla="*/ 5145881 h 5145881"/>
              <a:gd name="connsiteX4" fmla="*/ 2989225 w 4292997"/>
              <a:gd name="connsiteY4" fmla="*/ 2381 h 5145881"/>
              <a:gd name="connsiteX0" fmla="*/ 2989225 w 3452416"/>
              <a:gd name="connsiteY0" fmla="*/ 2381 h 5145881"/>
              <a:gd name="connsiteX1" fmla="*/ 3450035 w 3452416"/>
              <a:gd name="connsiteY1" fmla="*/ 0 h 5145881"/>
              <a:gd name="connsiteX2" fmla="*/ 3452416 w 3452416"/>
              <a:gd name="connsiteY2" fmla="*/ 5143501 h 5145881"/>
              <a:gd name="connsiteX3" fmla="*/ 0 w 3452416"/>
              <a:gd name="connsiteY3" fmla="*/ 5145881 h 5145881"/>
              <a:gd name="connsiteX4" fmla="*/ 2989225 w 3452416"/>
              <a:gd name="connsiteY4" fmla="*/ 2381 h 5145881"/>
              <a:gd name="connsiteX0" fmla="*/ 2770150 w 3452416"/>
              <a:gd name="connsiteY0" fmla="*/ 4762 h 5145881"/>
              <a:gd name="connsiteX1" fmla="*/ 3450035 w 3452416"/>
              <a:gd name="connsiteY1" fmla="*/ 0 h 5145881"/>
              <a:gd name="connsiteX2" fmla="*/ 3452416 w 3452416"/>
              <a:gd name="connsiteY2" fmla="*/ 5143501 h 5145881"/>
              <a:gd name="connsiteX3" fmla="*/ 0 w 3452416"/>
              <a:gd name="connsiteY3" fmla="*/ 5145881 h 5145881"/>
              <a:gd name="connsiteX4" fmla="*/ 2770150 w 3452416"/>
              <a:gd name="connsiteY4" fmla="*/ 4762 h 5145881"/>
              <a:gd name="connsiteX0" fmla="*/ 2767769 w 3452416"/>
              <a:gd name="connsiteY0" fmla="*/ 4762 h 5145881"/>
              <a:gd name="connsiteX1" fmla="*/ 3450035 w 3452416"/>
              <a:gd name="connsiteY1" fmla="*/ 0 h 5145881"/>
              <a:gd name="connsiteX2" fmla="*/ 3452416 w 3452416"/>
              <a:gd name="connsiteY2" fmla="*/ 5143501 h 5145881"/>
              <a:gd name="connsiteX3" fmla="*/ 0 w 3452416"/>
              <a:gd name="connsiteY3" fmla="*/ 5145881 h 5145881"/>
              <a:gd name="connsiteX4" fmla="*/ 2767769 w 3452416"/>
              <a:gd name="connsiteY4" fmla="*/ 4762 h 5145881"/>
              <a:gd name="connsiteX0" fmla="*/ 2772532 w 3452416"/>
              <a:gd name="connsiteY0" fmla="*/ 0 h 5145882"/>
              <a:gd name="connsiteX1" fmla="*/ 3450035 w 3452416"/>
              <a:gd name="connsiteY1" fmla="*/ 1 h 5145882"/>
              <a:gd name="connsiteX2" fmla="*/ 3452416 w 3452416"/>
              <a:gd name="connsiteY2" fmla="*/ 5143502 h 5145882"/>
              <a:gd name="connsiteX3" fmla="*/ 0 w 3452416"/>
              <a:gd name="connsiteY3" fmla="*/ 5145882 h 5145882"/>
              <a:gd name="connsiteX4" fmla="*/ 2772532 w 3452416"/>
              <a:gd name="connsiteY4" fmla="*/ 0 h 5145882"/>
              <a:gd name="connsiteX0" fmla="*/ 2970176 w 3650060"/>
              <a:gd name="connsiteY0" fmla="*/ 0 h 5145882"/>
              <a:gd name="connsiteX1" fmla="*/ 3647679 w 3650060"/>
              <a:gd name="connsiteY1" fmla="*/ 1 h 5145882"/>
              <a:gd name="connsiteX2" fmla="*/ 3650060 w 3650060"/>
              <a:gd name="connsiteY2" fmla="*/ 5143502 h 5145882"/>
              <a:gd name="connsiteX3" fmla="*/ 0 w 3650060"/>
              <a:gd name="connsiteY3" fmla="*/ 5145882 h 5145882"/>
              <a:gd name="connsiteX4" fmla="*/ 2970176 w 3650060"/>
              <a:gd name="connsiteY4" fmla="*/ 0 h 5145882"/>
              <a:gd name="connsiteX0" fmla="*/ 2970176 w 3647747"/>
              <a:gd name="connsiteY0" fmla="*/ 0 h 5145882"/>
              <a:gd name="connsiteX1" fmla="*/ 3647679 w 3647747"/>
              <a:gd name="connsiteY1" fmla="*/ 1 h 5145882"/>
              <a:gd name="connsiteX2" fmla="*/ 3642916 w 3647747"/>
              <a:gd name="connsiteY2" fmla="*/ 5105402 h 5145882"/>
              <a:gd name="connsiteX3" fmla="*/ 0 w 3647747"/>
              <a:gd name="connsiteY3" fmla="*/ 5145882 h 5145882"/>
              <a:gd name="connsiteX4" fmla="*/ 2970176 w 3647747"/>
              <a:gd name="connsiteY4" fmla="*/ 0 h 5145882"/>
              <a:gd name="connsiteX0" fmla="*/ 2970176 w 3647747"/>
              <a:gd name="connsiteY0" fmla="*/ 0 h 5145884"/>
              <a:gd name="connsiteX1" fmla="*/ 3647679 w 3647747"/>
              <a:gd name="connsiteY1" fmla="*/ 1 h 5145884"/>
              <a:gd name="connsiteX2" fmla="*/ 3642916 w 3647747"/>
              <a:gd name="connsiteY2" fmla="*/ 5145884 h 5145884"/>
              <a:gd name="connsiteX3" fmla="*/ 0 w 3647747"/>
              <a:gd name="connsiteY3" fmla="*/ 5145882 h 5145884"/>
              <a:gd name="connsiteX4" fmla="*/ 2970176 w 3647747"/>
              <a:gd name="connsiteY4" fmla="*/ 0 h 5145884"/>
              <a:gd name="connsiteX0" fmla="*/ 2970176 w 3647695"/>
              <a:gd name="connsiteY0" fmla="*/ 0 h 5145882"/>
              <a:gd name="connsiteX1" fmla="*/ 3647679 w 3647695"/>
              <a:gd name="connsiteY1" fmla="*/ 1 h 5145882"/>
              <a:gd name="connsiteX2" fmla="*/ 3621485 w 3647695"/>
              <a:gd name="connsiteY2" fmla="*/ 5119690 h 5145882"/>
              <a:gd name="connsiteX3" fmla="*/ 0 w 3647695"/>
              <a:gd name="connsiteY3" fmla="*/ 5145882 h 5145882"/>
              <a:gd name="connsiteX4" fmla="*/ 2970176 w 3647695"/>
              <a:gd name="connsiteY4" fmla="*/ 0 h 5145882"/>
              <a:gd name="connsiteX0" fmla="*/ 2970176 w 3647784"/>
              <a:gd name="connsiteY0" fmla="*/ 0 h 5148266"/>
              <a:gd name="connsiteX1" fmla="*/ 3647679 w 3647784"/>
              <a:gd name="connsiteY1" fmla="*/ 1 h 5148266"/>
              <a:gd name="connsiteX2" fmla="*/ 3645298 w 3647784"/>
              <a:gd name="connsiteY2" fmla="*/ 5148266 h 5148266"/>
              <a:gd name="connsiteX3" fmla="*/ 0 w 3647784"/>
              <a:gd name="connsiteY3" fmla="*/ 5145882 h 5148266"/>
              <a:gd name="connsiteX4" fmla="*/ 2970176 w 3647784"/>
              <a:gd name="connsiteY4" fmla="*/ 0 h 5148266"/>
              <a:gd name="connsiteX0" fmla="*/ 2970176 w 3647686"/>
              <a:gd name="connsiteY0" fmla="*/ 0 h 5145882"/>
              <a:gd name="connsiteX1" fmla="*/ 3647679 w 3647686"/>
              <a:gd name="connsiteY1" fmla="*/ 1 h 5145882"/>
              <a:gd name="connsiteX2" fmla="*/ 3588149 w 3647686"/>
              <a:gd name="connsiteY2" fmla="*/ 5122072 h 5145882"/>
              <a:gd name="connsiteX3" fmla="*/ 0 w 3647686"/>
              <a:gd name="connsiteY3" fmla="*/ 5145882 h 5145882"/>
              <a:gd name="connsiteX4" fmla="*/ 2970176 w 3647686"/>
              <a:gd name="connsiteY4" fmla="*/ 0 h 5145882"/>
              <a:gd name="connsiteX0" fmla="*/ 2970176 w 3647784"/>
              <a:gd name="connsiteY0" fmla="*/ 0 h 5145885"/>
              <a:gd name="connsiteX1" fmla="*/ 3647679 w 3647784"/>
              <a:gd name="connsiteY1" fmla="*/ 1 h 5145885"/>
              <a:gd name="connsiteX2" fmla="*/ 3645299 w 3647784"/>
              <a:gd name="connsiteY2" fmla="*/ 5145885 h 5145885"/>
              <a:gd name="connsiteX3" fmla="*/ 0 w 3647784"/>
              <a:gd name="connsiteY3" fmla="*/ 5145882 h 5145885"/>
              <a:gd name="connsiteX4" fmla="*/ 2970176 w 3647784"/>
              <a:gd name="connsiteY4" fmla="*/ 0 h 5145885"/>
              <a:gd name="connsiteX0" fmla="*/ 2970176 w 3647908"/>
              <a:gd name="connsiteY0" fmla="*/ 0 h 5150648"/>
              <a:gd name="connsiteX1" fmla="*/ 3647679 w 3647908"/>
              <a:gd name="connsiteY1" fmla="*/ 1 h 5150648"/>
              <a:gd name="connsiteX2" fmla="*/ 3647681 w 3647908"/>
              <a:gd name="connsiteY2" fmla="*/ 5150648 h 5150648"/>
              <a:gd name="connsiteX3" fmla="*/ 0 w 3647908"/>
              <a:gd name="connsiteY3" fmla="*/ 5145882 h 5150648"/>
              <a:gd name="connsiteX4" fmla="*/ 2970176 w 3647908"/>
              <a:gd name="connsiteY4" fmla="*/ 0 h 515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7908" h="5150648">
                <a:moveTo>
                  <a:pt x="2970176" y="0"/>
                </a:moveTo>
                <a:lnTo>
                  <a:pt x="3647679" y="1"/>
                </a:lnTo>
                <a:cubicBezTo>
                  <a:pt x="3648473" y="1714501"/>
                  <a:pt x="3646887" y="3436148"/>
                  <a:pt x="3647681" y="5150648"/>
                </a:cubicBezTo>
                <a:lnTo>
                  <a:pt x="0" y="5145882"/>
                </a:lnTo>
                <a:lnTo>
                  <a:pt x="297017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3491877"/>
            <a:ext cx="5785161" cy="8748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1368633"/>
            <a:ext cx="6709394" cy="2052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9814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3560519"/>
            <a:ext cx="6120000" cy="9000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2437833"/>
            <a:ext cx="6120000" cy="1080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7051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3560519"/>
            <a:ext cx="6120000" cy="900000"/>
          </a:xfrm>
        </p:spPr>
        <p:txBody>
          <a:bodyPr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160000" cy="51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0000" y="2437833"/>
            <a:ext cx="6120000" cy="108000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0618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/>
          <p:cNvSpPr/>
          <p:nvPr userDrawn="1"/>
        </p:nvSpPr>
        <p:spPr>
          <a:xfrm>
            <a:off x="0" y="0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1612800"/>
            <a:ext cx="6480000" cy="158400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IRESTOP CONTRACTOR TRAINING / 10 JUNE 2017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218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/>
          <p:cNvSpPr/>
          <p:nvPr userDrawn="1"/>
        </p:nvSpPr>
        <p:spPr>
          <a:xfrm>
            <a:off x="0" y="0"/>
            <a:ext cx="9144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0"/>
          </p:nvPr>
        </p:nvSpPr>
        <p:spPr>
          <a:xfrm>
            <a:off x="2757318" y="630"/>
            <a:ext cx="6390322" cy="631213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7369 w 10000"/>
              <a:gd name="connsiteY2" fmla="*/ 9919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747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5080 w 7470"/>
              <a:gd name="connsiteY0" fmla="*/ 1 h 10000"/>
              <a:gd name="connsiteX1" fmla="*/ 6819 w 7470"/>
              <a:gd name="connsiteY1" fmla="*/ 0 h 10000"/>
              <a:gd name="connsiteX2" fmla="*/ 7470 w 7470"/>
              <a:gd name="connsiteY2" fmla="*/ 10000 h 10000"/>
              <a:gd name="connsiteX3" fmla="*/ 0 w 7470"/>
              <a:gd name="connsiteY3" fmla="*/ 10000 h 10000"/>
              <a:gd name="connsiteX4" fmla="*/ 5080 w 7470"/>
              <a:gd name="connsiteY4" fmla="*/ 1 h 10000"/>
              <a:gd name="connsiteX0" fmla="*/ 6801 w 10000"/>
              <a:gd name="connsiteY0" fmla="*/ 1 h 10000"/>
              <a:gd name="connsiteX1" fmla="*/ 9995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6801 w 10000"/>
              <a:gd name="connsiteY4" fmla="*/ 1 h 10000"/>
              <a:gd name="connsiteX0" fmla="*/ 6613 w 10000"/>
              <a:gd name="connsiteY0" fmla="*/ 6 h 10000"/>
              <a:gd name="connsiteX1" fmla="*/ 9995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6613 w 10000"/>
              <a:gd name="connsiteY4" fmla="*/ 6 h 10000"/>
              <a:gd name="connsiteX0" fmla="*/ 6737 w 10124"/>
              <a:gd name="connsiteY0" fmla="*/ 6 h 10000"/>
              <a:gd name="connsiteX1" fmla="*/ 10119 w 10124"/>
              <a:gd name="connsiteY1" fmla="*/ 0 h 10000"/>
              <a:gd name="connsiteX2" fmla="*/ 10124 w 10124"/>
              <a:gd name="connsiteY2" fmla="*/ 10000 h 10000"/>
              <a:gd name="connsiteX3" fmla="*/ 0 w 10124"/>
              <a:gd name="connsiteY3" fmla="*/ 9995 h 10000"/>
              <a:gd name="connsiteX4" fmla="*/ 6737 w 10124"/>
              <a:gd name="connsiteY4" fmla="*/ 6 h 10000"/>
              <a:gd name="connsiteX0" fmla="*/ 6737 w 10124"/>
              <a:gd name="connsiteY0" fmla="*/ 1 h 10000"/>
              <a:gd name="connsiteX1" fmla="*/ 10119 w 10124"/>
              <a:gd name="connsiteY1" fmla="*/ 0 h 10000"/>
              <a:gd name="connsiteX2" fmla="*/ 10124 w 10124"/>
              <a:gd name="connsiteY2" fmla="*/ 10000 h 10000"/>
              <a:gd name="connsiteX3" fmla="*/ 0 w 10124"/>
              <a:gd name="connsiteY3" fmla="*/ 9995 h 10000"/>
              <a:gd name="connsiteX4" fmla="*/ 6737 w 10124"/>
              <a:gd name="connsiteY4" fmla="*/ 1 h 10000"/>
              <a:gd name="connsiteX0" fmla="*/ 6737 w 11853"/>
              <a:gd name="connsiteY0" fmla="*/ 0 h 9999"/>
              <a:gd name="connsiteX1" fmla="*/ 11853 w 11853"/>
              <a:gd name="connsiteY1" fmla="*/ 10 h 9999"/>
              <a:gd name="connsiteX2" fmla="*/ 10124 w 11853"/>
              <a:gd name="connsiteY2" fmla="*/ 9999 h 9999"/>
              <a:gd name="connsiteX3" fmla="*/ 0 w 11853"/>
              <a:gd name="connsiteY3" fmla="*/ 9994 h 9999"/>
              <a:gd name="connsiteX4" fmla="*/ 6737 w 11853"/>
              <a:gd name="connsiteY4" fmla="*/ 0 h 9999"/>
              <a:gd name="connsiteX0" fmla="*/ 5684 w 10000"/>
              <a:gd name="connsiteY0" fmla="*/ 0 h 10000"/>
              <a:gd name="connsiteX1" fmla="*/ 10000 w 10000"/>
              <a:gd name="connsiteY1" fmla="*/ 10 h 10000"/>
              <a:gd name="connsiteX2" fmla="*/ 9983 w 10000"/>
              <a:gd name="connsiteY2" fmla="*/ 10000 h 10000"/>
              <a:gd name="connsiteX3" fmla="*/ 0 w 10000"/>
              <a:gd name="connsiteY3" fmla="*/ 9995 h 10000"/>
              <a:gd name="connsiteX4" fmla="*/ 5684 w 10000"/>
              <a:gd name="connsiteY4" fmla="*/ 0 h 10000"/>
              <a:gd name="connsiteX0" fmla="*/ 5684 w 10005"/>
              <a:gd name="connsiteY0" fmla="*/ 0 h 10000"/>
              <a:gd name="connsiteX1" fmla="*/ 10005 w 10005"/>
              <a:gd name="connsiteY1" fmla="*/ 5 h 10000"/>
              <a:gd name="connsiteX2" fmla="*/ 9983 w 10005"/>
              <a:gd name="connsiteY2" fmla="*/ 10000 h 10000"/>
              <a:gd name="connsiteX3" fmla="*/ 0 w 10005"/>
              <a:gd name="connsiteY3" fmla="*/ 9995 h 10000"/>
              <a:gd name="connsiteX4" fmla="*/ 5684 w 10005"/>
              <a:gd name="connsiteY4" fmla="*/ 0 h 10000"/>
              <a:gd name="connsiteX0" fmla="*/ 5684 w 10000"/>
              <a:gd name="connsiteY0" fmla="*/ 0 h 10000"/>
              <a:gd name="connsiteX1" fmla="*/ 10000 w 10000"/>
              <a:gd name="connsiteY1" fmla="*/ 5 h 10000"/>
              <a:gd name="connsiteX2" fmla="*/ 9983 w 10000"/>
              <a:gd name="connsiteY2" fmla="*/ 10000 h 10000"/>
              <a:gd name="connsiteX3" fmla="*/ 0 w 10000"/>
              <a:gd name="connsiteY3" fmla="*/ 9995 h 10000"/>
              <a:gd name="connsiteX4" fmla="*/ 5684 w 10000"/>
              <a:gd name="connsiteY4" fmla="*/ 0 h 10000"/>
              <a:gd name="connsiteX0" fmla="*/ 5684 w 10000"/>
              <a:gd name="connsiteY0" fmla="*/ 0 h 10005"/>
              <a:gd name="connsiteX1" fmla="*/ 10000 w 10000"/>
              <a:gd name="connsiteY1" fmla="*/ 5 h 10005"/>
              <a:gd name="connsiteX2" fmla="*/ 9988 w 10000"/>
              <a:gd name="connsiteY2" fmla="*/ 10005 h 10005"/>
              <a:gd name="connsiteX3" fmla="*/ 0 w 10000"/>
              <a:gd name="connsiteY3" fmla="*/ 9995 h 10005"/>
              <a:gd name="connsiteX4" fmla="*/ 5684 w 10000"/>
              <a:gd name="connsiteY4" fmla="*/ 0 h 1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5">
                <a:moveTo>
                  <a:pt x="5684" y="0"/>
                </a:moveTo>
                <a:lnTo>
                  <a:pt x="10000" y="5"/>
                </a:lnTo>
                <a:cubicBezTo>
                  <a:pt x="10002" y="3338"/>
                  <a:pt x="9987" y="6672"/>
                  <a:pt x="9988" y="10005"/>
                </a:cubicBezTo>
                <a:lnTo>
                  <a:pt x="0" y="9995"/>
                </a:lnTo>
                <a:lnTo>
                  <a:pt x="568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 algn="r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9999" y="1612800"/>
            <a:ext cx="5040000" cy="143640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199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000" y="378000"/>
            <a:ext cx="8301600" cy="1000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0000" y="1591200"/>
            <a:ext cx="8301600" cy="435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05600" y="6469200"/>
            <a:ext cx="5968799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92400" y="6469200"/>
            <a:ext cx="503999" cy="18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7C50797-B235-234D-9382-8ACDEECCE975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467605"/>
            <a:ext cx="864000" cy="205286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76400" y="6469200"/>
            <a:ext cx="144643" cy="21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51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82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9" r:id="rId9"/>
    <p:sldLayoutId id="2147483650" r:id="rId10"/>
    <p:sldLayoutId id="2147483671" r:id="rId11"/>
    <p:sldLayoutId id="2147483672" r:id="rId12"/>
    <p:sldLayoutId id="2147483680" r:id="rId13"/>
    <p:sldLayoutId id="2147483654" r:id="rId14"/>
    <p:sldLayoutId id="2147483655" r:id="rId15"/>
    <p:sldLayoutId id="2147483683" r:id="rId16"/>
    <p:sldLayoutId id="2147483686" r:id="rId17"/>
  </p:sldLayoutIdLst>
  <p:hf hdr="0" dt="0"/>
  <p:txStyles>
    <p:titleStyle>
      <a:lvl1pPr algn="l" defTabSz="685800" rtl="0" eaLnBrk="1" latinLnBrk="0" hangingPunct="1">
        <a:lnSpc>
          <a:spcPts val="3052"/>
        </a:lnSpc>
        <a:spcBef>
          <a:spcPct val="0"/>
        </a:spcBef>
        <a:buNone/>
        <a:defRPr sz="28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7000"/>
        </a:lnSpc>
        <a:spcBef>
          <a:spcPts val="1000"/>
        </a:spcBef>
        <a:buClr>
          <a:schemeClr val="accent4">
            <a:lumMod val="60000"/>
            <a:lumOff val="40000"/>
          </a:schemeClr>
        </a:buClr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41200" indent="-241200" algn="l" defTabSz="685800" rtl="0" eaLnBrk="1" latinLnBrk="0" hangingPunct="1">
        <a:lnSpc>
          <a:spcPct val="107000"/>
        </a:lnSpc>
        <a:spcBef>
          <a:spcPts val="1000"/>
        </a:spcBef>
        <a:buClr>
          <a:schemeClr val="accent4">
            <a:lumMod val="60000"/>
            <a:lumOff val="40000"/>
          </a:schemeClr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82400" indent="-241200" algn="l" defTabSz="685800" rtl="0" eaLnBrk="1" latinLnBrk="0" hangingPunct="1">
        <a:lnSpc>
          <a:spcPct val="107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.LucidaGrandeUI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82400" indent="-241200" algn="l" defTabSz="685800" rtl="0" eaLnBrk="1" latinLnBrk="0" hangingPunct="1">
        <a:lnSpc>
          <a:spcPct val="107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3600" indent="-241200" algn="l" defTabSz="685800" rtl="0" eaLnBrk="1" latinLnBrk="0" hangingPunct="1">
        <a:lnSpc>
          <a:spcPct val="107000"/>
        </a:lnSpc>
        <a:spcBef>
          <a:spcPts val="600"/>
        </a:spcBef>
        <a:buClr>
          <a:schemeClr val="accent4">
            <a:lumMod val="60000"/>
            <a:lumOff val="40000"/>
          </a:schemeClr>
        </a:buClr>
        <a:buFont typeface=".AppleSystemUIFont" charset="-12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5456" userDrawn="1">
          <p15:clr>
            <a:srgbClr val="F26B43"/>
          </p15:clr>
        </p15:guide>
        <p15:guide id="4" orient="horz" pos="1000" userDrawn="1">
          <p15:clr>
            <a:srgbClr val="F26B43"/>
          </p15:clr>
        </p15:guide>
        <p15:guide id="5" orient="horz" pos="3744" userDrawn="1">
          <p15:clr>
            <a:srgbClr val="F26B43"/>
          </p15:clr>
        </p15:guide>
        <p15:guide id="6" orient="horz" pos="396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wmf"/><Relationship Id="rId26" Type="http://schemas.openxmlformats.org/officeDocument/2006/relationships/image" Target="../media/image20.jpeg"/><Relationship Id="rId39" Type="http://schemas.openxmlformats.org/officeDocument/2006/relationships/image" Target="../media/image33.png"/><Relationship Id="rId21" Type="http://schemas.openxmlformats.org/officeDocument/2006/relationships/image" Target="../media/image15.png"/><Relationship Id="rId34" Type="http://schemas.openxmlformats.org/officeDocument/2006/relationships/image" Target="../media/image28.jpeg"/><Relationship Id="rId42" Type="http://schemas.openxmlformats.org/officeDocument/2006/relationships/image" Target="../media/image36.png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image" Target="../media/image10.png"/><Relationship Id="rId29" Type="http://schemas.openxmlformats.org/officeDocument/2006/relationships/image" Target="../media/image23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24" Type="http://schemas.openxmlformats.org/officeDocument/2006/relationships/image" Target="../media/image18.jpeg"/><Relationship Id="rId32" Type="http://schemas.openxmlformats.org/officeDocument/2006/relationships/image" Target="../media/image26.png"/><Relationship Id="rId37" Type="http://schemas.openxmlformats.org/officeDocument/2006/relationships/image" Target="../media/image31.jpeg"/><Relationship Id="rId40" Type="http://schemas.openxmlformats.org/officeDocument/2006/relationships/image" Target="../media/image34.jpeg"/><Relationship Id="rId45" Type="http://schemas.openxmlformats.org/officeDocument/2006/relationships/image" Target="../media/image39.emf"/><Relationship Id="rId5" Type="http://schemas.openxmlformats.org/officeDocument/2006/relationships/tags" Target="../tags/tag4.xml"/><Relationship Id="rId15" Type="http://schemas.openxmlformats.org/officeDocument/2006/relationships/image" Target="../media/image9.png"/><Relationship Id="rId23" Type="http://schemas.openxmlformats.org/officeDocument/2006/relationships/image" Target="../media/image17.jpeg"/><Relationship Id="rId28" Type="http://schemas.openxmlformats.org/officeDocument/2006/relationships/image" Target="../media/image22.png"/><Relationship Id="rId36" Type="http://schemas.openxmlformats.org/officeDocument/2006/relationships/image" Target="../media/image30.jpe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3.png"/><Relationship Id="rId31" Type="http://schemas.openxmlformats.org/officeDocument/2006/relationships/image" Target="../media/image25.jpeg"/><Relationship Id="rId44" Type="http://schemas.openxmlformats.org/officeDocument/2006/relationships/image" Target="../media/image38.jpeg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jpeg"/><Relationship Id="rId30" Type="http://schemas.openxmlformats.org/officeDocument/2006/relationships/image" Target="../media/image24.png"/><Relationship Id="rId35" Type="http://schemas.openxmlformats.org/officeDocument/2006/relationships/image" Target="../media/image29.jpeg"/><Relationship Id="rId43" Type="http://schemas.openxmlformats.org/officeDocument/2006/relationships/image" Target="../media/image37.jpeg"/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12" Type="http://schemas.openxmlformats.org/officeDocument/2006/relationships/image" Target="../media/image6.emf"/><Relationship Id="rId17" Type="http://schemas.openxmlformats.org/officeDocument/2006/relationships/image" Target="../media/image11.jpeg"/><Relationship Id="rId25" Type="http://schemas.openxmlformats.org/officeDocument/2006/relationships/image" Target="../media/image19.png"/><Relationship Id="rId33" Type="http://schemas.openxmlformats.org/officeDocument/2006/relationships/image" Target="../media/image27.jpeg"/><Relationship Id="rId38" Type="http://schemas.openxmlformats.org/officeDocument/2006/relationships/image" Target="../media/image32.jpeg"/><Relationship Id="rId20" Type="http://schemas.openxmlformats.org/officeDocument/2006/relationships/image" Target="../media/image14.png"/><Relationship Id="rId41" Type="http://schemas.openxmlformats.org/officeDocument/2006/relationships/image" Target="../media/image3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28.jpeg"/><Relationship Id="rId18" Type="http://schemas.openxmlformats.org/officeDocument/2006/relationships/image" Target="../media/image48.png"/><Relationship Id="rId3" Type="http://schemas.openxmlformats.org/officeDocument/2006/relationships/tags" Target="../tags/tag10.xml"/><Relationship Id="rId7" Type="http://schemas.openxmlformats.org/officeDocument/2006/relationships/image" Target="../media/image40.png"/><Relationship Id="rId12" Type="http://schemas.openxmlformats.org/officeDocument/2006/relationships/image" Target="../media/image43.png"/><Relationship Id="rId17" Type="http://schemas.openxmlformats.org/officeDocument/2006/relationships/image" Target="../media/image47.png"/><Relationship Id="rId2" Type="http://schemas.openxmlformats.org/officeDocument/2006/relationships/tags" Target="../tags/tag9.xml"/><Relationship Id="rId16" Type="http://schemas.openxmlformats.org/officeDocument/2006/relationships/image" Target="../media/image46.png"/><Relationship Id="rId20" Type="http://schemas.openxmlformats.org/officeDocument/2006/relationships/image" Target="../media/image50.jpeg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42.pn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45.jpeg"/><Relationship Id="rId10" Type="http://schemas.openxmlformats.org/officeDocument/2006/relationships/image" Target="../media/image41.jpeg"/><Relationship Id="rId19" Type="http://schemas.openxmlformats.org/officeDocument/2006/relationships/image" Target="../media/image49.jpeg"/><Relationship Id="rId4" Type="http://schemas.openxmlformats.org/officeDocument/2006/relationships/tags" Target="../tags/tag11.xml"/><Relationship Id="rId9" Type="http://schemas.openxmlformats.org/officeDocument/2006/relationships/image" Target="../media/image29.jpeg"/><Relationship Id="rId14" Type="http://schemas.openxmlformats.org/officeDocument/2006/relationships/image" Target="../media/image4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</a:t>
            </a:fld>
            <a:endParaRPr lang="de-DE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estop Applications 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52115023"/>
              </p:ext>
            </p:extLst>
          </p:nvPr>
        </p:nvGraphicFramePr>
        <p:xfrm>
          <a:off x="777025" y="1572031"/>
          <a:ext cx="7761668" cy="4643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71223" y="5628068"/>
            <a:ext cx="6426557" cy="15454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endParaRPr lang="en-US" sz="1600" dirty="0" err="1"/>
          </a:p>
        </p:txBody>
      </p:sp>
      <p:sp>
        <p:nvSpPr>
          <p:cNvPr id="10" name="TextBox 9"/>
          <p:cNvSpPr txBox="1"/>
          <p:nvPr/>
        </p:nvSpPr>
        <p:spPr>
          <a:xfrm>
            <a:off x="1442434" y="5473521"/>
            <a:ext cx="6438793" cy="28333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dirty="0"/>
              <a:t>Code Reference and Hilti Solu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2624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PLUMBING SHAF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04825" y="1990725"/>
            <a:ext cx="4038600" cy="3951288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‒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»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Clr>
                <a:srgbClr val="D10024"/>
              </a:buClr>
              <a:buSzPct val="8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altLang="en-US" sz="1400" u="sng" dirty="0"/>
              <a:t>Services : Ceramic Pipes</a:t>
            </a:r>
          </a:p>
          <a:p>
            <a:pPr marL="0" indent="0"/>
            <a:r>
              <a:rPr lang="en-US" altLang="en-US" sz="1400" dirty="0"/>
              <a:t>CP 636</a:t>
            </a:r>
          </a:p>
          <a:p>
            <a:pPr marL="0" indent="0"/>
            <a:endParaRPr lang="en-US" altLang="en-US" sz="1400" dirty="0"/>
          </a:p>
          <a:p>
            <a:pPr marL="0" indent="0"/>
            <a:endParaRPr lang="en-US" altLang="en-US" sz="1400" dirty="0"/>
          </a:p>
          <a:p>
            <a:pPr marL="0" indent="0"/>
            <a:r>
              <a:rPr lang="en-US" altLang="en-US" sz="1400" u="sng" dirty="0"/>
              <a:t>Services : Plastic Pipes</a:t>
            </a:r>
          </a:p>
          <a:p>
            <a:pPr marL="0" indent="0"/>
            <a:r>
              <a:rPr lang="en-US" altLang="en-US" sz="1400" dirty="0"/>
              <a:t>1)CP636 + FS One</a:t>
            </a:r>
          </a:p>
          <a:p>
            <a:pPr marL="0" indent="0"/>
            <a:r>
              <a:rPr lang="en-US" altLang="en-US" sz="1400" dirty="0"/>
              <a:t>2)CP636 + Wrap</a:t>
            </a:r>
          </a:p>
          <a:p>
            <a:pPr marL="0" indent="0"/>
            <a:r>
              <a:rPr lang="en-US" altLang="en-US" sz="1400" dirty="0"/>
              <a:t>3)CP636 + Collar</a:t>
            </a:r>
          </a:p>
          <a:p>
            <a:pPr marL="0" indent="0"/>
            <a:endParaRPr lang="en-US" altLang="en-US" sz="1400" dirty="0"/>
          </a:p>
          <a:p>
            <a:pPr marL="0" indent="0"/>
            <a:endParaRPr lang="en-US" altLang="en-US" sz="1400" dirty="0"/>
          </a:p>
          <a:p>
            <a:pPr marL="0" indent="0"/>
            <a:endParaRPr lang="en-US" altLang="en-US" sz="1400" dirty="0"/>
          </a:p>
          <a:p>
            <a:pPr marL="0" indent="0"/>
            <a:r>
              <a:rPr lang="en-US" altLang="en-US" sz="1400" dirty="0"/>
              <a:t>NOTE : For Approvals , Please refer FSM or contact Firestop specialist.</a:t>
            </a:r>
          </a:p>
          <a:p>
            <a:pPr marL="0" indent="0"/>
            <a:endParaRPr lang="en-US" altLang="en-US" sz="1400" dirty="0"/>
          </a:p>
        </p:txBody>
      </p:sp>
      <p:pic>
        <p:nvPicPr>
          <p:cNvPr id="6" name="Picture 4" descr="IM00272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67200" y="3584575"/>
            <a:ext cx="3201988" cy="2592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aphicFrame>
        <p:nvGraphicFramePr>
          <p:cNvPr id="7" name="Object 5"/>
          <p:cNvGraphicFramePr>
            <a:graphicFrameLocks noChangeAspect="1"/>
          </p:cNvGraphicFramePr>
          <p:nvPr/>
        </p:nvGraphicFramePr>
        <p:xfrm>
          <a:off x="3819525" y="1195388"/>
          <a:ext cx="4040188" cy="2560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Acrobat Document" r:id="rId4" imgW="7543621" imgH="5829274" progId="AcroExch.Document.7">
                  <p:embed/>
                </p:oleObj>
              </mc:Choice>
              <mc:Fallback>
                <p:oleObj name="Acrobat Document" r:id="rId4" imgW="7543621" imgH="5829274" progId="AcroExch.Document.7">
                  <p:embed/>
                  <p:pic>
                    <p:nvPicPr>
                      <p:cNvPr id="8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19525" y="1195388"/>
                        <a:ext cx="4040188" cy="25606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 cap="flat" cmpd="sng" algn="ctr">
                            <a:solidFill>
                              <a:schemeClr val="tx1"/>
                            </a:solidFill>
                            <a:prstDash val="solid"/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3910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HVAC &amp; PLUMB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pic>
        <p:nvPicPr>
          <p:cNvPr id="5" name="Picture 4" descr="DSC002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19113" y="1581150"/>
            <a:ext cx="8174037" cy="436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215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066" name="Objekt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88" y="21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88066" name="Objek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8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>
          <a:xfrm>
            <a:off x="517435" y="1838602"/>
            <a:ext cx="2645904" cy="1222163"/>
          </a:xfrm>
          <a:prstGeom prst="rect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2" name="Text Box 12"/>
          <p:cNvSpPr txBox="1">
            <a:spLocks noChangeArrowheads="1"/>
          </p:cNvSpPr>
          <p:nvPr/>
        </p:nvSpPr>
        <p:spPr bwMode="auto">
          <a:xfrm>
            <a:off x="526959" y="1789398"/>
            <a:ext cx="2626857" cy="33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 dirty="0">
                <a:solidFill>
                  <a:srgbClr val="000000"/>
                </a:solidFill>
              </a:rPr>
              <a:t>Plumbing (Potable, WW)</a:t>
            </a:r>
          </a:p>
        </p:txBody>
      </p:sp>
      <p:pic>
        <p:nvPicPr>
          <p:cNvPr id="88069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201" y="2117953"/>
            <a:ext cx="419027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0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048" y="2586185"/>
            <a:ext cx="412678" cy="41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1" name="Picture 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72" y="2117953"/>
            <a:ext cx="396806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2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026" y="2586184"/>
            <a:ext cx="426963" cy="41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3" name="Picture 10" descr="https://hilti.picturepark.com/Public/100/ThumbnailLarge/67fcce15-4f94-4b57-8611-8e152686d967.jpg?0_0_0_0_2_112_210_54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235" y="3102032"/>
            <a:ext cx="484104" cy="5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4" name="Picture 7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27" y="3095683"/>
            <a:ext cx="553941" cy="576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075" name="Text Box 21"/>
          <p:cNvSpPr txBox="1">
            <a:spLocks noChangeArrowheads="1"/>
          </p:cNvSpPr>
          <p:nvPr/>
        </p:nvSpPr>
        <p:spPr bwMode="gray">
          <a:xfrm>
            <a:off x="507911" y="436290"/>
            <a:ext cx="8144048" cy="55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eaLnBrk="0" hangingPunct="0">
              <a:spcBef>
                <a:spcPct val="0"/>
              </a:spcBef>
              <a:buClr>
                <a:srgbClr val="D10024"/>
              </a:buClr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0"/>
              </a:spcBef>
              <a:buClr>
                <a:srgbClr val="D10024"/>
              </a:buClr>
              <a:buFont typeface="Arial" charset="0"/>
              <a:buChar char="‒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0"/>
              </a:spcBef>
              <a:buClr>
                <a:srgbClr val="D10024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rgbClr val="D10024"/>
              </a:buClr>
              <a:buSzPct val="80000"/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800" eaLnBrk="1" hangingPunct="1">
              <a:lnSpc>
                <a:spcPts val="3052"/>
              </a:lnSpc>
              <a:buNone/>
            </a:pPr>
            <a:r>
              <a:rPr lang="de-CH" altLang="en-US" sz="28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lti : Firestop system solution</a:t>
            </a:r>
            <a:endParaRPr lang="en-US" altLang="en-US" sz="28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256985" y="1813206"/>
            <a:ext cx="2645904" cy="122375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1" name="Text Box 11"/>
          <p:cNvSpPr txBox="1">
            <a:spLocks noChangeArrowheads="1"/>
          </p:cNvSpPr>
          <p:nvPr/>
        </p:nvSpPr>
        <p:spPr bwMode="auto">
          <a:xfrm>
            <a:off x="3256984" y="1794159"/>
            <a:ext cx="2636380" cy="334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>
                <a:solidFill>
                  <a:srgbClr val="000000"/>
                </a:solidFill>
              </a:rPr>
              <a:t>HVAC (Heating, Cooling)</a:t>
            </a:r>
            <a:endParaRPr lang="en-GB" altLang="en-US" sz="1600" b="1" dirty="0">
              <a:solidFill>
                <a:srgbClr val="000000"/>
              </a:solidFill>
            </a:endParaRPr>
          </a:p>
        </p:txBody>
      </p:sp>
      <p:pic>
        <p:nvPicPr>
          <p:cNvPr id="88078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128" y="2581422"/>
            <a:ext cx="398394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79" name="Picture 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755" y="2117953"/>
            <a:ext cx="409504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80" name="Picture 10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756" y="2586185"/>
            <a:ext cx="401567" cy="41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81" name="Picture 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7065" y="2167157"/>
            <a:ext cx="396806" cy="41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82" name="Picture 3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524" y="2143349"/>
            <a:ext cx="366649" cy="36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83" name="Picture 4099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06" r="9586"/>
          <a:stretch>
            <a:fillRect/>
          </a:stretch>
        </p:blipFill>
        <p:spPr bwMode="auto">
          <a:xfrm>
            <a:off x="3439516" y="2105255"/>
            <a:ext cx="1339617" cy="89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84" name="Picture 5" descr="MULTIPLE PVC PIPES AT MADISON SCHOOL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8" t="12791" r="37523" b="31358"/>
          <a:stretch>
            <a:fillRect/>
          </a:stretch>
        </p:blipFill>
        <p:spPr>
          <a:xfrm>
            <a:off x="658699" y="2106842"/>
            <a:ext cx="1272954" cy="899956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4" name="Rechteck 53"/>
          <p:cNvSpPr/>
          <p:nvPr/>
        </p:nvSpPr>
        <p:spPr>
          <a:xfrm>
            <a:off x="6015581" y="1810031"/>
            <a:ext cx="2647490" cy="122375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88086" name="Picture 8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931" y="2349687"/>
            <a:ext cx="398393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 Box 10"/>
          <p:cNvSpPr txBox="1">
            <a:spLocks noChangeArrowheads="1"/>
          </p:cNvSpPr>
          <p:nvPr/>
        </p:nvSpPr>
        <p:spPr bwMode="auto">
          <a:xfrm>
            <a:off x="6394928" y="1790985"/>
            <a:ext cx="1888797" cy="334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 dirty="0">
                <a:solidFill>
                  <a:srgbClr val="000000"/>
                </a:solidFill>
              </a:rPr>
              <a:t>Industrial</a:t>
            </a:r>
          </a:p>
        </p:txBody>
      </p:sp>
      <p:sp>
        <p:nvSpPr>
          <p:cNvPr id="62" name="Rechteck 61"/>
          <p:cNvSpPr/>
          <p:nvPr/>
        </p:nvSpPr>
        <p:spPr>
          <a:xfrm>
            <a:off x="507911" y="1827491"/>
            <a:ext cx="8151985" cy="18967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88090" name="Picture 19" descr="https://hilti.picturepark.com/Public/100/ThumbnailLarge/f8a25206-b601-4563-9354-2335c576a3f5.jpg?0_0_0_0_2_111_202_2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753" y="3103561"/>
            <a:ext cx="525372" cy="5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91" name="Picture 2" descr="C:\Users\BELLOJES\Desktop\Jessica\pics_guide\Rohre\BILD0029.jp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0" b="7471"/>
          <a:stretch>
            <a:fillRect/>
          </a:stretch>
        </p:blipFill>
        <p:spPr bwMode="auto">
          <a:xfrm>
            <a:off x="6163193" y="2092557"/>
            <a:ext cx="1460246" cy="899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Rechteck 83"/>
          <p:cNvSpPr/>
          <p:nvPr/>
        </p:nvSpPr>
        <p:spPr>
          <a:xfrm>
            <a:off x="6020342" y="4186106"/>
            <a:ext cx="2645903" cy="122375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86" name="Text Box 10"/>
          <p:cNvSpPr txBox="1">
            <a:spLocks noChangeArrowheads="1"/>
          </p:cNvSpPr>
          <p:nvPr/>
        </p:nvSpPr>
        <p:spPr bwMode="auto">
          <a:xfrm>
            <a:off x="6020343" y="4136903"/>
            <a:ext cx="2618920" cy="333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 dirty="0">
                <a:solidFill>
                  <a:srgbClr val="000000"/>
                </a:solidFill>
              </a:rPr>
              <a:t>Power &amp; Industry</a:t>
            </a:r>
          </a:p>
        </p:txBody>
      </p:sp>
      <p:sp>
        <p:nvSpPr>
          <p:cNvPr id="94" name="Rechteck 93"/>
          <p:cNvSpPr/>
          <p:nvPr/>
        </p:nvSpPr>
        <p:spPr>
          <a:xfrm>
            <a:off x="6018755" y="4174996"/>
            <a:ext cx="2645904" cy="189673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88095" name="Picture 12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0" b="8830"/>
          <a:stretch>
            <a:fillRect/>
          </a:stretch>
        </p:blipFill>
        <p:spPr bwMode="auto">
          <a:xfrm>
            <a:off x="6158431" y="4447999"/>
            <a:ext cx="1387234" cy="904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96" name="Picture 11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838" y="4701954"/>
            <a:ext cx="407916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echteck 65"/>
          <p:cNvSpPr/>
          <p:nvPr/>
        </p:nvSpPr>
        <p:spPr>
          <a:xfrm>
            <a:off x="3247461" y="4192455"/>
            <a:ext cx="2645904" cy="1223750"/>
          </a:xfrm>
          <a:prstGeom prst="rect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69" name="Text Box 12"/>
          <p:cNvSpPr txBox="1">
            <a:spLocks noChangeArrowheads="1"/>
          </p:cNvSpPr>
          <p:nvPr/>
        </p:nvSpPr>
        <p:spPr bwMode="auto">
          <a:xfrm>
            <a:off x="3369678" y="4143251"/>
            <a:ext cx="2360202" cy="334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 dirty="0">
                <a:solidFill>
                  <a:srgbClr val="000000"/>
                </a:solidFill>
              </a:rPr>
              <a:t>Telecom/Data</a:t>
            </a:r>
          </a:p>
        </p:txBody>
      </p:sp>
      <p:sp>
        <p:nvSpPr>
          <p:cNvPr id="92" name="Rechteck 91"/>
          <p:cNvSpPr/>
          <p:nvPr/>
        </p:nvSpPr>
        <p:spPr>
          <a:xfrm>
            <a:off x="3256985" y="4182932"/>
            <a:ext cx="2645904" cy="18967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88100" name="Picture 3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654" y="4705128"/>
            <a:ext cx="396806" cy="41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01" name="Picture 40" descr="T:\04_Strategy (CI)\2009 Working Files\Firestop\07_Archive\03_Key Applications\HNA\LV Cables\IMGP5130.JP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262"/>
          <a:stretch>
            <a:fillRect/>
          </a:stretch>
        </p:blipFill>
        <p:spPr bwMode="auto">
          <a:xfrm>
            <a:off x="3376027" y="4452760"/>
            <a:ext cx="1479293" cy="90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Rechteck 74"/>
          <p:cNvSpPr/>
          <p:nvPr/>
        </p:nvSpPr>
        <p:spPr>
          <a:xfrm>
            <a:off x="507912" y="4200391"/>
            <a:ext cx="2645904" cy="122375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606320" y="4151188"/>
            <a:ext cx="2384011" cy="33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742" tIns="43871" rIns="87742" bIns="43871">
            <a:spAutoFit/>
          </a:bodyPr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381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77888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16038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55775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129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6701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273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584575" defTabSz="8778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GB" altLang="en-US" sz="1600" b="1" dirty="0">
                <a:solidFill>
                  <a:srgbClr val="000000"/>
                </a:solidFill>
              </a:rPr>
              <a:t>Building Services</a:t>
            </a:r>
          </a:p>
        </p:txBody>
      </p:sp>
      <p:sp>
        <p:nvSpPr>
          <p:cNvPr id="93" name="Rechteck 92"/>
          <p:cNvSpPr/>
          <p:nvPr/>
        </p:nvSpPr>
        <p:spPr>
          <a:xfrm>
            <a:off x="507912" y="4186106"/>
            <a:ext cx="2645904" cy="18967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0" tIns="35990" rIns="35990" bIns="35990" anchor="ctr"/>
          <a:lstStyle/>
          <a:p>
            <a:pPr>
              <a:buClr>
                <a:srgbClr val="000000"/>
              </a:buClr>
              <a:defRPr/>
            </a:pPr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88105" name="Picture 2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1151" y="4703542"/>
            <a:ext cx="419027" cy="41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06" name="Picture 41" descr="T:\04_Strategy (CI)\2009 Working Files\Firestop\07_Archive\03_Key Applications\HNA\LV Cables\IMGP5099.JPG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71"/>
          <a:stretch>
            <a:fillRect/>
          </a:stretch>
        </p:blipFill>
        <p:spPr bwMode="auto">
          <a:xfrm>
            <a:off x="682507" y="4451173"/>
            <a:ext cx="1477706" cy="912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07" name="Picture 9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3457" y="5603498"/>
            <a:ext cx="682507" cy="398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08" name="Picture 99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026" y="5552706"/>
            <a:ext cx="520610" cy="382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09" name="Picture 101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510" y="5595562"/>
            <a:ext cx="660285" cy="319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10" name="Picture 105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20" y="5593562"/>
            <a:ext cx="844403" cy="328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11" name="Picture 106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914" y="5522550"/>
            <a:ext cx="672983" cy="392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12" name="Picture 107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690" y="5452712"/>
            <a:ext cx="353952" cy="530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13" name="Picture 2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116" y="5560643"/>
            <a:ext cx="377759" cy="369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114" name="Picture 4" descr="https://hilti.picturepark.com/Public/100/ThumbnailLarge/b9304f18-eb2a-41dc-ac16-4684247ba2a9.jpg?0_0_0_0_2_112_148_23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777" y="3148062"/>
            <a:ext cx="731711" cy="47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115" name="Picture 2" descr="https://hilti.picturepark.com/Public/100/ThumbnailLarge/848bc620-1f0c-4490-851f-a462cd54e73f.jpg?0_0_0_0_2_109_47_251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819" y="5593975"/>
            <a:ext cx="353952" cy="320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19" descr="https://hilti.picturepark.com/Public/100/ThumbnailLarge/f8a25206-b601-4563-9354-2335c576a3f5.jpg?0_0_0_0_2_111_202_2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986" y="3131396"/>
            <a:ext cx="525372" cy="5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19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438" y="3163412"/>
            <a:ext cx="647986" cy="456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9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140" y="3152264"/>
            <a:ext cx="647986" cy="456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19" descr="https://hilti.picturepark.com/Public/100/ThumbnailLarge/f8a25206-b601-4563-9354-2335c576a3f5.jpg?0_0_0_0_2_111_202_2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6640" y="3129810"/>
            <a:ext cx="525372" cy="5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87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196" y="3180499"/>
            <a:ext cx="923569" cy="427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8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505" y="5523675"/>
            <a:ext cx="63658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3987756" y="3051756"/>
            <a:ext cx="411579" cy="604389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6169543" y="5438598"/>
            <a:ext cx="411579" cy="60438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24476258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461362" y="616610"/>
            <a:ext cx="6080706" cy="389058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baseline="0">
                <a:solidFill>
                  <a:schemeClr val="tx1"/>
                </a:solidFill>
                <a:latin typeface="Hilti Heavy Extended" pitchFamily="2" charset="-128"/>
                <a:ea typeface="+mj-ea"/>
                <a:cs typeface="+mj-cs"/>
              </a:defRPr>
            </a:lvl1pPr>
          </a:lstStyle>
          <a:p>
            <a:pPr defTabSz="685800">
              <a:lnSpc>
                <a:spcPts val="3052"/>
              </a:lnSpc>
              <a:spcAft>
                <a:spcPts val="600"/>
              </a:spcAft>
              <a:buClr>
                <a:srgbClr val="D10024"/>
              </a:buClr>
            </a:pPr>
            <a:r>
              <a:rPr lang="en-US" sz="2800" cap="all" dirty="0">
                <a:solidFill>
                  <a:schemeClr val="accent1"/>
                </a:solidFill>
                <a:latin typeface="+mj-lt"/>
              </a:rPr>
              <a:t>Firestop Applications - TP</a:t>
            </a:r>
            <a:endParaRPr lang="de-DE" sz="2800" cap="all" dirty="0">
              <a:solidFill>
                <a:schemeClr val="accent1"/>
              </a:solidFill>
              <a:latin typeface="+mj-lt"/>
            </a:endParaRPr>
          </a:p>
          <a:p>
            <a:pPr defTabSz="685800">
              <a:lnSpc>
                <a:spcPts val="3052"/>
              </a:lnSpc>
              <a:buClr>
                <a:srgbClr val="D10024"/>
              </a:buClr>
            </a:pPr>
            <a:endParaRPr lang="de-DE" sz="2800" cap="all" dirty="0">
              <a:solidFill>
                <a:schemeClr val="accent1"/>
              </a:solidFill>
              <a:latin typeface="+mj-lt"/>
            </a:endParaRPr>
          </a:p>
          <a:p>
            <a:r>
              <a:rPr lang="en-US" sz="2400" dirty="0">
                <a:latin typeface="Arial Black" panose="020B0A04020102020204" pitchFamily="34" charset="0"/>
              </a:rPr>
              <a:t> 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905" y="3838381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185826" y="2909558"/>
            <a:ext cx="1665104" cy="14959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b="1" dirty="0">
              <a:solidFill>
                <a:prstClr val="black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518" y="3364202"/>
            <a:ext cx="412403" cy="39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hteck 10"/>
          <p:cNvSpPr/>
          <p:nvPr/>
        </p:nvSpPr>
        <p:spPr>
          <a:xfrm>
            <a:off x="643674" y="4594777"/>
            <a:ext cx="11100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CH" sz="1400" b="1" u="sng" dirty="0">
                <a:solidFill>
                  <a:srgbClr val="000000"/>
                </a:solidFill>
              </a:rPr>
              <a:t>Wal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583555" y="2885382"/>
            <a:ext cx="10583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CH" sz="1400" b="1" u="sng" dirty="0">
                <a:solidFill>
                  <a:srgbClr val="000000"/>
                </a:solidFill>
              </a:rPr>
              <a:t>Floors</a:t>
            </a:r>
          </a:p>
        </p:txBody>
      </p:sp>
      <p:sp>
        <p:nvSpPr>
          <p:cNvPr id="19" name="Rechteck 18"/>
          <p:cNvSpPr/>
          <p:nvPr/>
        </p:nvSpPr>
        <p:spPr>
          <a:xfrm>
            <a:off x="5721501" y="1519553"/>
            <a:ext cx="812871" cy="12297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prstClr val="black"/>
                </a:solidFill>
              </a:rPr>
              <a:t>Metal Pipes</a:t>
            </a:r>
          </a:p>
        </p:txBody>
      </p:sp>
      <p:sp>
        <p:nvSpPr>
          <p:cNvPr id="20" name="Rechteck 19"/>
          <p:cNvSpPr/>
          <p:nvPr/>
        </p:nvSpPr>
        <p:spPr>
          <a:xfrm>
            <a:off x="3920099" y="1520832"/>
            <a:ext cx="808938" cy="123256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prstClr val="black"/>
                </a:solidFill>
              </a:rPr>
              <a:t>Cable trays/ Bus Bars</a:t>
            </a:r>
          </a:p>
        </p:txBody>
      </p:sp>
      <p:sp>
        <p:nvSpPr>
          <p:cNvPr id="21" name="Rechteck 20"/>
          <p:cNvSpPr/>
          <p:nvPr/>
        </p:nvSpPr>
        <p:spPr>
          <a:xfrm>
            <a:off x="3021227" y="1520833"/>
            <a:ext cx="803639" cy="12325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>
                <a:solidFill>
                  <a:prstClr val="black"/>
                </a:solidFill>
              </a:rPr>
              <a:t>Cable bundles</a:t>
            </a:r>
            <a:endParaRPr lang="de-DE" sz="1200" b="1" dirty="0">
              <a:solidFill>
                <a:prstClr val="black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578454" y="1514142"/>
            <a:ext cx="849859" cy="123477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prstClr val="black"/>
                </a:solidFill>
              </a:rPr>
              <a:t>Mixed Penetrations</a:t>
            </a:r>
            <a:endParaRPr lang="de-DE" sz="1000" b="1" dirty="0">
              <a:solidFill>
                <a:prstClr val="black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2109901" y="1536890"/>
            <a:ext cx="803639" cy="12216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>
                <a:solidFill>
                  <a:prstClr val="black"/>
                </a:solidFill>
              </a:rPr>
              <a:t>Single small  cables</a:t>
            </a:r>
            <a:endParaRPr lang="de-DE" sz="1200" b="1" dirty="0">
              <a:solidFill>
                <a:prstClr val="black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4823044" y="1521233"/>
            <a:ext cx="799027" cy="12297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prstClr val="black"/>
                </a:solidFill>
              </a:rPr>
              <a:t>Ducts</a:t>
            </a:r>
          </a:p>
        </p:txBody>
      </p:sp>
      <p:sp>
        <p:nvSpPr>
          <p:cNvPr id="26" name="Rechteck 25"/>
          <p:cNvSpPr/>
          <p:nvPr/>
        </p:nvSpPr>
        <p:spPr>
          <a:xfrm>
            <a:off x="6630475" y="1519153"/>
            <a:ext cx="849859" cy="12325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prstClr val="black"/>
                </a:solidFill>
              </a:rPr>
              <a:t>PVC Pipes (Combustible)</a:t>
            </a:r>
          </a:p>
        </p:txBody>
      </p:sp>
      <p:pic>
        <p:nvPicPr>
          <p:cNvPr id="27" name="Picture 9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873" y="3757963"/>
            <a:ext cx="595332" cy="369701"/>
          </a:xfrm>
          <a:prstGeom prst="rect">
            <a:avLst/>
          </a:prstGeom>
        </p:spPr>
      </p:pic>
      <p:pic>
        <p:nvPicPr>
          <p:cNvPr id="30" name="Picture 1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454" y="3309436"/>
            <a:ext cx="740649" cy="237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113" y="3364203"/>
            <a:ext cx="676041" cy="242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506934" y="3622988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411" y="3266513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940" y="5156451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694" y="4556155"/>
            <a:ext cx="412403" cy="39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454" y="4981231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040" y="5012060"/>
            <a:ext cx="634877" cy="227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9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183" y="4728862"/>
            <a:ext cx="671739" cy="44050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88193" y="3313841"/>
            <a:ext cx="454626" cy="666024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14525" y="3492965"/>
            <a:ext cx="454626" cy="666024"/>
          </a:xfrm>
          <a:prstGeom prst="rect">
            <a:avLst/>
          </a:prstGeom>
        </p:spPr>
      </p:pic>
      <p:pic>
        <p:nvPicPr>
          <p:cNvPr id="44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235" y="3266513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200" y="3646853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9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328" y="5052873"/>
            <a:ext cx="595332" cy="369701"/>
          </a:xfrm>
          <a:prstGeom prst="rect">
            <a:avLst/>
          </a:prstGeom>
        </p:spPr>
      </p:pic>
      <p:pic>
        <p:nvPicPr>
          <p:cNvPr id="48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274" y="4600831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9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318" y="4572593"/>
            <a:ext cx="478375" cy="313704"/>
          </a:xfrm>
          <a:prstGeom prst="rect">
            <a:avLst/>
          </a:prstGeom>
        </p:spPr>
      </p:pic>
      <p:pic>
        <p:nvPicPr>
          <p:cNvPr id="62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129" y="4018018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838865" y="4639580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2045" y="5277108"/>
            <a:ext cx="634877" cy="227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53502" y="3373695"/>
            <a:ext cx="454626" cy="666024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51554" y="3351994"/>
            <a:ext cx="454626" cy="66602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443" y="3592831"/>
            <a:ext cx="691661" cy="566158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0531" y="3971315"/>
            <a:ext cx="489665" cy="400814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2" y="5332174"/>
            <a:ext cx="691661" cy="56615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074769" y="6146318"/>
            <a:ext cx="7882787" cy="339933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CFS DISC, CP 606, CP 636, Composite Board, Speed Sleeves, CP 644, FS One Max, CFS BL</a:t>
            </a:r>
          </a:p>
        </p:txBody>
      </p: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91151" y="3249961"/>
            <a:ext cx="1159577" cy="1035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hteck 7"/>
          <p:cNvSpPr/>
          <p:nvPr/>
        </p:nvSpPr>
        <p:spPr>
          <a:xfrm>
            <a:off x="143813" y="4474810"/>
            <a:ext cx="1704733" cy="156082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b="1" dirty="0">
              <a:solidFill>
                <a:prstClr val="black"/>
              </a:solidFill>
            </a:endParaRPr>
          </a:p>
        </p:txBody>
      </p:sp>
      <p:sp>
        <p:nvSpPr>
          <p:cNvPr id="71" name="Rechteck 12"/>
          <p:cNvSpPr/>
          <p:nvPr/>
        </p:nvSpPr>
        <p:spPr>
          <a:xfrm>
            <a:off x="643674" y="4465801"/>
            <a:ext cx="778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CH" sz="1400" b="1" u="sng" dirty="0">
                <a:solidFill>
                  <a:srgbClr val="000000"/>
                </a:solidFill>
              </a:rPr>
              <a:t>Wall</a:t>
            </a:r>
          </a:p>
        </p:txBody>
      </p:sp>
      <p:pic>
        <p:nvPicPr>
          <p:cNvPr id="72" name="Picture 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22" y="4733285"/>
            <a:ext cx="1553512" cy="1252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4317" y="2865113"/>
            <a:ext cx="8803239" cy="157245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43813" y="4483065"/>
            <a:ext cx="8803239" cy="163867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7075" y="4989600"/>
            <a:ext cx="605261" cy="612326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1726" y="5048595"/>
            <a:ext cx="605261" cy="612326"/>
          </a:xfrm>
          <a:prstGeom prst="rect">
            <a:avLst/>
          </a:prstGeom>
        </p:spPr>
      </p:pic>
      <p:pic>
        <p:nvPicPr>
          <p:cNvPr id="75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900009" y="5645634"/>
            <a:ext cx="806855" cy="2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171" y="4788031"/>
            <a:ext cx="605261" cy="612326"/>
          </a:xfrm>
          <a:prstGeom prst="rect">
            <a:avLst/>
          </a:prstGeom>
        </p:spPr>
      </p:pic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9644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4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8216" y="625929"/>
            <a:ext cx="8143200" cy="597600"/>
          </a:xfrm>
        </p:spPr>
        <p:txBody>
          <a:bodyPr/>
          <a:lstStyle/>
          <a:p>
            <a:r>
              <a:rPr lang="en-US" dirty="0"/>
              <a:t>Hilti System Solution (Floor)</a:t>
            </a:r>
          </a:p>
        </p:txBody>
      </p:sp>
      <p:pic>
        <p:nvPicPr>
          <p:cNvPr id="7" name="Picture 1"/>
          <p:cNvPicPr>
            <a:picLocks noGrp="1" noChangeAspect="1"/>
          </p:cNvPicPr>
          <p:nvPr>
            <p:ph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17" y="1635617"/>
            <a:ext cx="2594600" cy="194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484" y="1635616"/>
            <a:ext cx="2894665" cy="1945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Content Placeholder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850" y="1645931"/>
            <a:ext cx="2731263" cy="1935635"/>
          </a:xfrm>
          <a:prstGeom prst="rect">
            <a:avLst/>
          </a:prstGeom>
        </p:spPr>
      </p:pic>
      <p:pic>
        <p:nvPicPr>
          <p:cNvPr id="10" name="Picture 4" descr="Fire Hydrant Shaf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17" y="4072293"/>
            <a:ext cx="2594600" cy="233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484" y="4066711"/>
            <a:ext cx="2894665" cy="233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851" y="4060200"/>
            <a:ext cx="2731263" cy="23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588217" y="1192407"/>
            <a:ext cx="2594600" cy="4120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ipes (Blank Openings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12483" y="1203464"/>
            <a:ext cx="2894665" cy="412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Cables (Blank Openings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158851" y="1192406"/>
            <a:ext cx="2731262" cy="412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Ducts (Blank Openings)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88216" y="3626633"/>
            <a:ext cx="2594600" cy="4120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ipes (with Firestop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212483" y="3623841"/>
            <a:ext cx="2894665" cy="4120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Cables (with Firestop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158852" y="3632177"/>
            <a:ext cx="2731262" cy="412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Ducts (with Firestop)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250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HVAC TRA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04825" y="1439744"/>
            <a:ext cx="4038600" cy="3951288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‒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»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Clr>
                <a:srgbClr val="D10024"/>
              </a:buClr>
              <a:buSzPct val="8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800" indent="-304800">
              <a:lnSpc>
                <a:spcPct val="90000"/>
              </a:lnSpc>
            </a:pPr>
            <a:r>
              <a:rPr lang="en-US" altLang="en-US" sz="1400" u="sng" dirty="0"/>
              <a:t>Services : HVAC Duct</a:t>
            </a:r>
          </a:p>
          <a:p>
            <a:pPr marL="304800" indent="-304800">
              <a:lnSpc>
                <a:spcPct val="90000"/>
              </a:lnSpc>
            </a:pPr>
            <a:r>
              <a:rPr lang="en-US" altLang="en-US" sz="1400" dirty="0"/>
              <a:t>Solution :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400" dirty="0"/>
              <a:t>Hilti Mineral Wool Board System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400" dirty="0"/>
              <a:t>CP 606 with Mineral wool as backing material</a:t>
            </a:r>
          </a:p>
          <a:p>
            <a:pPr marL="304800" indent="-304800">
              <a:lnSpc>
                <a:spcPct val="90000"/>
              </a:lnSpc>
            </a:pPr>
            <a:endParaRPr lang="en-US" altLang="en-US" sz="1400" dirty="0"/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400" dirty="0"/>
          </a:p>
          <a:p>
            <a:pPr marL="304800" indent="-304800">
              <a:lnSpc>
                <a:spcPct val="90000"/>
              </a:lnSpc>
            </a:pPr>
            <a:r>
              <a:rPr lang="en-US" altLang="en-US" sz="1400" u="sng" dirty="0"/>
              <a:t>Services : Chilled Water Pipe/Copper Pipes</a:t>
            </a:r>
          </a:p>
          <a:p>
            <a:pPr marL="304800" indent="-304800">
              <a:lnSpc>
                <a:spcPct val="90000"/>
              </a:lnSpc>
            </a:pPr>
            <a:r>
              <a:rPr lang="en-US" altLang="en-US" sz="1400" dirty="0"/>
              <a:t>Solution :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400" dirty="0"/>
              <a:t>CP 636 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400" dirty="0"/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400" dirty="0"/>
          </a:p>
          <a:p>
            <a:pPr marL="304800" indent="-304800">
              <a:lnSpc>
                <a:spcPct val="90000"/>
              </a:lnSpc>
            </a:pPr>
            <a:r>
              <a:rPr lang="en-US" altLang="en-US" sz="1400" dirty="0"/>
              <a:t>NOTE : For Approvals , Please refer FSM or contact Firestop specialist.</a:t>
            </a:r>
          </a:p>
          <a:p>
            <a:pPr marL="304800" indent="-304800">
              <a:lnSpc>
                <a:spcPct val="90000"/>
              </a:lnSpc>
            </a:pPr>
            <a:endParaRPr lang="en-US" altLang="en-US" sz="1400" dirty="0"/>
          </a:p>
          <a:p>
            <a:pPr marL="304800" indent="-304800">
              <a:lnSpc>
                <a:spcPct val="90000"/>
              </a:lnSpc>
            </a:pPr>
            <a:endParaRPr lang="en-US" altLang="en-US" sz="1400" dirty="0"/>
          </a:p>
        </p:txBody>
      </p:sp>
      <p:pic>
        <p:nvPicPr>
          <p:cNvPr id="6" name="Picture 4" descr="IM00272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13" y="1079382"/>
            <a:ext cx="3671887" cy="228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cp636-pip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40275" y="3555882"/>
            <a:ext cx="3875088" cy="1978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5102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pic>
        <p:nvPicPr>
          <p:cNvPr id="5" name="Picture 3" descr="Picture 2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44090"/>
            <a:ext cx="3495675" cy="2718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photo004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584" y="1044090"/>
            <a:ext cx="3667669" cy="2745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Content Placeholder 9" descr="IMG_20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8200" y="4041775"/>
            <a:ext cx="3495675" cy="222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Content Placeholder 10" descr="IMG_208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70583" y="4041775"/>
            <a:ext cx="3667669" cy="220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9487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938" y="336213"/>
            <a:ext cx="8301600" cy="1000799"/>
          </a:xfrm>
        </p:spPr>
        <p:txBody>
          <a:bodyPr/>
          <a:lstStyle/>
          <a:p>
            <a:r>
              <a:rPr lang="en-US" dirty="0"/>
              <a:t>2. ELECTRICAL TR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pic>
        <p:nvPicPr>
          <p:cNvPr id="5" name="Picture 2" descr="C:\Users\durapat\Pictures\2012-05-11\2606201217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9788" y="836613"/>
            <a:ext cx="4259262" cy="305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durapat\Desktop\promat\imagesCAHQ66V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775" y="3968750"/>
            <a:ext cx="4205288" cy="207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C:\Users\durapat\Desktop\promat\untitled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1906588"/>
            <a:ext cx="4024312" cy="403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51787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CAL TR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04825" y="1990725"/>
            <a:ext cx="4038600" cy="3951288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‒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»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Clr>
                <a:srgbClr val="D10024"/>
              </a:buClr>
              <a:buSzPct val="8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800" indent="-304800">
              <a:lnSpc>
                <a:spcPct val="90000"/>
              </a:lnSpc>
            </a:pPr>
            <a:r>
              <a:rPr lang="en-US" altLang="en-US" sz="1200" u="sng" dirty="0"/>
              <a:t>Services: Cable Tray</a:t>
            </a:r>
          </a:p>
          <a:p>
            <a:pPr marL="304800" indent="-304800">
              <a:lnSpc>
                <a:spcPct val="90000"/>
              </a:lnSpc>
            </a:pPr>
            <a:r>
              <a:rPr lang="en-US" altLang="en-US" sz="1200" dirty="0"/>
              <a:t>Solution :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200" dirty="0"/>
              <a:t>Hilti Mineral Wool Board System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200" dirty="0"/>
              <a:t>CP 636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r>
              <a:rPr lang="en-US" altLang="en-US" sz="1200" dirty="0"/>
              <a:t>CP 620</a:t>
            </a:r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200" dirty="0"/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200" dirty="0"/>
          </a:p>
          <a:p>
            <a:pPr marL="304800" indent="-304800">
              <a:lnSpc>
                <a:spcPct val="90000"/>
              </a:lnSpc>
              <a:buFont typeface="Arial Narrow" panose="020B0606020202030204" pitchFamily="34" charset="0"/>
              <a:buAutoNum type="arabicParenR"/>
            </a:pPr>
            <a:endParaRPr lang="en-US" altLang="en-US" sz="1200" dirty="0"/>
          </a:p>
          <a:p>
            <a:pPr marL="304800" indent="-304800">
              <a:lnSpc>
                <a:spcPct val="90000"/>
              </a:lnSpc>
            </a:pPr>
            <a:r>
              <a:rPr lang="en-US" altLang="en-US" sz="1200" dirty="0"/>
              <a:t>NOTE : For Approvals , Please refer FSM or contact Firestop specialist.</a:t>
            </a:r>
          </a:p>
          <a:p>
            <a:pPr marL="304800" indent="-304800">
              <a:lnSpc>
                <a:spcPct val="90000"/>
              </a:lnSpc>
            </a:pPr>
            <a:endParaRPr lang="en-US" altLang="en-US" sz="1200" dirty="0"/>
          </a:p>
          <a:p>
            <a:pPr marL="304800" indent="-304800">
              <a:lnSpc>
                <a:spcPct val="90000"/>
              </a:lnSpc>
            </a:pPr>
            <a:endParaRPr lang="en-US" altLang="en-US" sz="1200" dirty="0"/>
          </a:p>
        </p:txBody>
      </p:sp>
      <p:pic>
        <p:nvPicPr>
          <p:cNvPr id="6" name="Picture 5" descr="A00948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925" y="1470025"/>
            <a:ext cx="4016375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IMG00229-20110426-142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62500" y="4041775"/>
            <a:ext cx="3971925" cy="2138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IMG_142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99" y="3812504"/>
            <a:ext cx="3609975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4125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CAL TR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50797-B235-234D-9382-8ACDEECCE975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IRESTOP CONTRACTOR TRAINING / 10 JUNE 2017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04825" y="1990725"/>
            <a:ext cx="4038600" cy="3951288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‒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»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Clr>
                <a:srgbClr val="D10024"/>
              </a:buClr>
              <a:buSzPct val="8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800" indent="-304800"/>
            <a:r>
              <a:rPr lang="en-US" altLang="en-US" u="sng" dirty="0"/>
              <a:t>Services : Cables</a:t>
            </a:r>
          </a:p>
          <a:p>
            <a:pPr marL="304800" indent="-304800"/>
            <a:r>
              <a:rPr lang="en-US" altLang="en-US" dirty="0"/>
              <a:t>Solution :</a:t>
            </a:r>
          </a:p>
          <a:p>
            <a:pPr marL="304800" indent="-304800">
              <a:buFont typeface="Arial Narrow" panose="020B0606020202030204" pitchFamily="34" charset="0"/>
              <a:buAutoNum type="arabicParenR"/>
            </a:pPr>
            <a:r>
              <a:rPr lang="en-US" altLang="en-US" dirty="0"/>
              <a:t>CP 636</a:t>
            </a:r>
          </a:p>
          <a:p>
            <a:pPr marL="304800" indent="-304800">
              <a:buFont typeface="Arial Narrow" panose="020B0606020202030204" pitchFamily="34" charset="0"/>
              <a:buAutoNum type="arabicParenR"/>
            </a:pPr>
            <a:r>
              <a:rPr lang="en-US" altLang="en-US" dirty="0"/>
              <a:t>FS One</a:t>
            </a:r>
          </a:p>
          <a:p>
            <a:pPr marL="304800" indent="-304800">
              <a:buFont typeface="Arial Narrow" panose="020B0606020202030204" pitchFamily="34" charset="0"/>
              <a:buAutoNum type="arabicParenR"/>
            </a:pPr>
            <a:r>
              <a:rPr lang="en-US" altLang="en-US" dirty="0"/>
              <a:t>CP 620</a:t>
            </a:r>
          </a:p>
          <a:p>
            <a:pPr marL="304800" indent="-304800">
              <a:buFont typeface="Arial Narrow" panose="020B0606020202030204" pitchFamily="34" charset="0"/>
              <a:buAutoNum type="arabicParenR"/>
            </a:pPr>
            <a:r>
              <a:rPr lang="en-US" altLang="en-US" dirty="0"/>
              <a:t>HMWB</a:t>
            </a:r>
          </a:p>
          <a:p>
            <a:pPr marL="304800" indent="-304800"/>
            <a:endParaRPr lang="en-US" altLang="en-US" dirty="0"/>
          </a:p>
          <a:p>
            <a:pPr marL="304800" indent="-304800"/>
            <a:endParaRPr lang="en-US" altLang="en-US" dirty="0"/>
          </a:p>
          <a:p>
            <a:pPr marL="304800" indent="-304800"/>
            <a:endParaRPr lang="en-US" altLang="en-US" dirty="0"/>
          </a:p>
          <a:p>
            <a:pPr marL="304800" indent="-304800"/>
            <a:endParaRPr lang="en-US" altLang="en-US" dirty="0"/>
          </a:p>
          <a:p>
            <a:pPr marL="304800" indent="-304800"/>
            <a:r>
              <a:rPr lang="en-US" altLang="en-US" dirty="0"/>
              <a:t>NOTE : For Approvals , Please refer FSM or contact Firestop specialist.</a:t>
            </a:r>
          </a:p>
          <a:p>
            <a:pPr marL="304800" indent="-304800"/>
            <a:endParaRPr lang="en-US" altLang="en-US" dirty="0"/>
          </a:p>
        </p:txBody>
      </p:sp>
      <p:pic>
        <p:nvPicPr>
          <p:cNvPr id="6" name="Picture 4" descr="DSC0606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49838" y="1809750"/>
            <a:ext cx="3217862" cy="207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5" descr="DSC060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38725" y="4041775"/>
            <a:ext cx="3268663" cy="2138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4014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c4d88b4-fb28-463a-bc38-faded0c3d539"/>
  <p:tag name="MIO_EK" val="882"/>
  <p:tag name="MIO_UPDATE" val="True"/>
  <p:tag name="MIO_VERSION" val="23.08.2013 13:59:19"/>
  <p:tag name="MIO_DBID" val="84308ECE-53B2-4873-BBD1-EDD7EAAC1BB3"/>
  <p:tag name="MIO_LASTDOWNLOADED" val="18.09.2013 11:01:53"/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gF9WERcUOYbMjpxGvp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8_eInOmkG_ZUIMPTBH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8_eInOmkG_ZUIMPTBH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gF9WERcUOYbMjpxGvp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4ZJdg8ki17XuLVEQj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6fd3k9WEKCZL3P_rWp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K5Ym49aUe.PFWqnrCK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gF9WERcUOYbMjpxGvp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8_eInOmkG_ZUIMPTBH2w"/>
</p:tagLst>
</file>

<file path=ppt/theme/theme1.xml><?xml version="1.0" encoding="utf-8"?>
<a:theme xmlns:a="http://schemas.openxmlformats.org/drawingml/2006/main" name="HILTI_PowerPoint_4x3_V4">
  <a:themeElements>
    <a:clrScheme name="Hilti">
      <a:dk1>
        <a:srgbClr val="000000"/>
      </a:dk1>
      <a:lt1>
        <a:srgbClr val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lideLibrary_4x3.pptx" id="{23DA2674-8293-456B-922A-9D69B2C5BACA}" vid="{2F652AA5-DE37-45A0-8224-65256AD9ACD5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Library_4x3</Template>
  <TotalTime>1133</TotalTime>
  <Words>430</Words>
  <Application>Microsoft Office PowerPoint</Application>
  <PresentationFormat>On-screen Show (4:3)</PresentationFormat>
  <Paragraphs>115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.AppleSystemUIFont</vt:lpstr>
      <vt:lpstr>.LucidaGrandeUI</vt:lpstr>
      <vt:lpstr>Arial</vt:lpstr>
      <vt:lpstr>Arial Black</vt:lpstr>
      <vt:lpstr>Arial Narrow</vt:lpstr>
      <vt:lpstr>Calibri</vt:lpstr>
      <vt:lpstr>Times New Roman</vt:lpstr>
      <vt:lpstr>HILTI_PowerPoint_4x3_V4</vt:lpstr>
      <vt:lpstr>think-cell Slide</vt:lpstr>
      <vt:lpstr>Acrobat Document</vt:lpstr>
      <vt:lpstr>Firestop Applications </vt:lpstr>
      <vt:lpstr>PowerPoint Presentation</vt:lpstr>
      <vt:lpstr>PowerPoint Presentation</vt:lpstr>
      <vt:lpstr>Hilti System Solution (Floor)</vt:lpstr>
      <vt:lpstr>1. HVAC TRADE </vt:lpstr>
      <vt:lpstr>PowerPoint Presentation</vt:lpstr>
      <vt:lpstr>2. ELECTRICAL TRADE</vt:lpstr>
      <vt:lpstr>ELECTRICAL TRADE</vt:lpstr>
      <vt:lpstr>ELECTRICAL TRADE</vt:lpstr>
      <vt:lpstr>3. PLUMBING SHAFT</vt:lpstr>
      <vt:lpstr>4. HVAC &amp; PLUMBING</vt:lpstr>
    </vt:vector>
  </TitlesOfParts>
  <Company>Hil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EADLINE OPTION 36PT.</dc:title>
  <dc:creator>Prantner, Harald</dc:creator>
  <cp:lastModifiedBy>Maulik Chauhan</cp:lastModifiedBy>
  <cp:revision>106</cp:revision>
  <cp:lastPrinted>2016-09-29T16:37:20Z</cp:lastPrinted>
  <dcterms:created xsi:type="dcterms:W3CDTF">2016-12-02T12:22:12Z</dcterms:created>
  <dcterms:modified xsi:type="dcterms:W3CDTF">2020-07-03T07:33:50Z</dcterms:modified>
</cp:coreProperties>
</file>